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sldIdLst>
    <p:sldId id="3519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54D7"/>
    <a:srgbClr val="12D8C9"/>
    <a:srgbClr val="FFFF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6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77468-49E4-4EFA-A438-21032FA71EE5}" type="datetimeFigureOut">
              <a:rPr lang="de-DE" smtClean="0"/>
              <a:t>23.02.202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AB8E7F-65E6-4BD4-ADFF-5D7AFEA793F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889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hyperlink" Target="mailto:info@tec-leadership-institute.com" TargetMode="Externa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89001B3-9E23-4377-8104-4021B60540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412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89001B3-9E23-4377-8104-4021B60540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F932818-937B-4B0E-B9F3-17F61BC2A9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169B990D-33C8-4FC5-8AA5-2E7513BCF2AA}"/>
              </a:ext>
            </a:extLst>
          </p:cNvPr>
          <p:cNvSpPr/>
          <p:nvPr/>
        </p:nvSpPr>
        <p:spPr>
          <a:xfrm rot="5400000">
            <a:off x="4204295" y="-1129697"/>
            <a:ext cx="3783402" cy="12191995"/>
          </a:xfrm>
          <a:custGeom>
            <a:avLst/>
            <a:gdLst>
              <a:gd name="connsiteX0" fmla="*/ 0 w 3783402"/>
              <a:gd name="connsiteY0" fmla="*/ 12191995 h 12191995"/>
              <a:gd name="connsiteX1" fmla="*/ 149316 w 3783402"/>
              <a:gd name="connsiteY1" fmla="*/ 11818283 h 12191995"/>
              <a:gd name="connsiteX2" fmla="*/ 1317328 w 3783402"/>
              <a:gd name="connsiteY2" fmla="*/ 5105742 h 12191995"/>
              <a:gd name="connsiteX3" fmla="*/ 683316 w 3783402"/>
              <a:gd name="connsiteY3" fmla="*/ 66897 h 12191995"/>
              <a:gd name="connsiteX4" fmla="*/ 664466 w 3783402"/>
              <a:gd name="connsiteY4" fmla="*/ 0 h 12191995"/>
              <a:gd name="connsiteX5" fmla="*/ 3783402 w 3783402"/>
              <a:gd name="connsiteY5" fmla="*/ 0 h 12191995"/>
              <a:gd name="connsiteX6" fmla="*/ 3783401 w 3783402"/>
              <a:gd name="connsiteY6" fmla="*/ 12191995 h 12191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3402" h="12191995">
                <a:moveTo>
                  <a:pt x="0" y="12191995"/>
                </a:moveTo>
                <a:lnTo>
                  <a:pt x="149316" y="11818283"/>
                </a:lnTo>
                <a:cubicBezTo>
                  <a:pt x="890507" y="9861013"/>
                  <a:pt x="1317328" y="7563354"/>
                  <a:pt x="1317328" y="5105742"/>
                </a:cubicBezTo>
                <a:cubicBezTo>
                  <a:pt x="1317328" y="3318388"/>
                  <a:pt x="1091571" y="1615636"/>
                  <a:pt x="683316" y="66897"/>
                </a:cubicBezTo>
                <a:lnTo>
                  <a:pt x="664466" y="0"/>
                </a:lnTo>
                <a:lnTo>
                  <a:pt x="3783402" y="0"/>
                </a:lnTo>
                <a:lnTo>
                  <a:pt x="3783401" y="12191995"/>
                </a:lnTo>
                <a:close/>
              </a:path>
            </a:pathLst>
          </a:custGeom>
          <a:solidFill>
            <a:srgbClr val="3F3F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BCABE5D2-63DE-40D9-AFB5-E4EB824BCD81}"/>
              </a:ext>
            </a:extLst>
          </p:cNvPr>
          <p:cNvSpPr/>
          <p:nvPr/>
        </p:nvSpPr>
        <p:spPr>
          <a:xfrm rot="5400000">
            <a:off x="5423572" y="-2350701"/>
            <a:ext cx="1344856" cy="12192001"/>
          </a:xfrm>
          <a:custGeom>
            <a:avLst/>
            <a:gdLst>
              <a:gd name="connsiteX0" fmla="*/ 0 w 1344856"/>
              <a:gd name="connsiteY0" fmla="*/ 12192001 h 12192001"/>
              <a:gd name="connsiteX1" fmla="*/ 165706 w 1344856"/>
              <a:gd name="connsiteY1" fmla="*/ 11701125 h 12192001"/>
              <a:gd name="connsiteX2" fmla="*/ 168310 w 1344856"/>
              <a:gd name="connsiteY2" fmla="*/ 11692497 h 12192001"/>
              <a:gd name="connsiteX3" fmla="*/ 182674 w 1344856"/>
              <a:gd name="connsiteY3" fmla="*/ 11650790 h 12192001"/>
              <a:gd name="connsiteX4" fmla="*/ 1024388 w 1344856"/>
              <a:gd name="connsiteY4" fmla="*/ 4889578 h 12192001"/>
              <a:gd name="connsiteX5" fmla="*/ 319953 w 1344856"/>
              <a:gd name="connsiteY5" fmla="*/ 467510 h 12192001"/>
              <a:gd name="connsiteX6" fmla="*/ 180756 w 1344856"/>
              <a:gd name="connsiteY6" fmla="*/ 0 h 12192001"/>
              <a:gd name="connsiteX7" fmla="*/ 691994 w 1344856"/>
              <a:gd name="connsiteY7" fmla="*/ 0 h 12192001"/>
              <a:gd name="connsiteX8" fmla="*/ 710844 w 1344856"/>
              <a:gd name="connsiteY8" fmla="*/ 66903 h 12192001"/>
              <a:gd name="connsiteX9" fmla="*/ 1344856 w 1344856"/>
              <a:gd name="connsiteY9" fmla="*/ 5105747 h 12192001"/>
              <a:gd name="connsiteX10" fmla="*/ 176844 w 1344856"/>
              <a:gd name="connsiteY10" fmla="*/ 11818289 h 12192001"/>
              <a:gd name="connsiteX11" fmla="*/ 27528 w 1344856"/>
              <a:gd name="connsiteY11" fmla="*/ 12192001 h 12192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44856" h="12192001">
                <a:moveTo>
                  <a:pt x="0" y="12192001"/>
                </a:moveTo>
                <a:lnTo>
                  <a:pt x="165706" y="11701125"/>
                </a:lnTo>
                <a:lnTo>
                  <a:pt x="168310" y="11692497"/>
                </a:lnTo>
                <a:lnTo>
                  <a:pt x="182674" y="11650790"/>
                </a:lnTo>
                <a:cubicBezTo>
                  <a:pt x="828252" y="9659936"/>
                  <a:pt x="1143352" y="7344310"/>
                  <a:pt x="1024388" y="4889578"/>
                </a:cubicBezTo>
                <a:cubicBezTo>
                  <a:pt x="948684" y="3327477"/>
                  <a:pt x="703474" y="1838440"/>
                  <a:pt x="319953" y="467510"/>
                </a:cubicBezTo>
                <a:lnTo>
                  <a:pt x="180756" y="0"/>
                </a:lnTo>
                <a:lnTo>
                  <a:pt x="691994" y="0"/>
                </a:lnTo>
                <a:lnTo>
                  <a:pt x="710844" y="66903"/>
                </a:lnTo>
                <a:cubicBezTo>
                  <a:pt x="1119100" y="1615642"/>
                  <a:pt x="1344856" y="3318393"/>
                  <a:pt x="1344856" y="5105747"/>
                </a:cubicBezTo>
                <a:cubicBezTo>
                  <a:pt x="1344856" y="7563360"/>
                  <a:pt x="918035" y="9861019"/>
                  <a:pt x="176844" y="11818289"/>
                </a:cubicBezTo>
                <a:lnTo>
                  <a:pt x="27528" y="12192001"/>
                </a:lnTo>
                <a:close/>
              </a:path>
            </a:pathLst>
          </a:custGeom>
          <a:gradFill flip="none" rotWithShape="1">
            <a:gsLst>
              <a:gs pos="51000">
                <a:srgbClr val="00A3C6"/>
              </a:gs>
              <a:gs pos="0">
                <a:schemeClr val="accent1"/>
              </a:gs>
              <a:gs pos="100000">
                <a:schemeClr val="accent6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163FAF4-D4C3-4D64-90F9-D7E9887FE1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839787" y="4701207"/>
            <a:ext cx="4114800" cy="775597"/>
          </a:xfrm>
        </p:spPr>
        <p:txBody>
          <a:bodyPr anchor="b"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latin typeface="+mj-lt"/>
              </a:rPr>
              <a:t>Presentation title</a:t>
            </a:r>
            <a:endParaRPr lang="en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402DDF3-A04E-4687-A746-25D4DF0CB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39787" y="5679773"/>
            <a:ext cx="4114800" cy="430887"/>
          </a:xfrm>
        </p:spPr>
        <p:txBody>
          <a:bodyPr>
            <a:noAutofit/>
          </a:bodyPr>
          <a:lstStyle>
            <a:lvl1pPr marL="0" indent="0" algn="l">
              <a:buNone/>
              <a:defRPr lang="en-DE" sz="2800" dirty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latin typeface="+mj-lt"/>
              </a:rPr>
              <a:t>Subtitle</a:t>
            </a:r>
            <a:endParaRPr lang="en-D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0B16AD1-5D94-4B2F-BF46-52D6C1C5ED69}"/>
              </a:ext>
            </a:extLst>
          </p:cNvPr>
          <p:cNvCxnSpPr>
            <a:cxnSpLocks/>
          </p:cNvCxnSpPr>
          <p:nvPr/>
        </p:nvCxnSpPr>
        <p:spPr>
          <a:xfrm>
            <a:off x="839787" y="5599833"/>
            <a:ext cx="4113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afik 3">
            <a:extLst>
              <a:ext uri="{FF2B5EF4-FFF2-40B4-BE49-F238E27FC236}">
                <a16:creationId xmlns:a16="http://schemas.microsoft.com/office/drawing/2014/main" id="{79D87103-3D0A-45E3-B668-381E42CD7843}"/>
              </a:ext>
            </a:extLst>
          </p:cNvPr>
          <p:cNvGrpSpPr/>
          <p:nvPr/>
        </p:nvGrpSpPr>
        <p:grpSpPr>
          <a:xfrm>
            <a:off x="839786" y="1239456"/>
            <a:ext cx="6786000" cy="1291864"/>
            <a:chOff x="839786" y="1239456"/>
            <a:chExt cx="6786000" cy="1291864"/>
          </a:xfrm>
        </p:grpSpPr>
        <p:grpSp>
          <p:nvGrpSpPr>
            <p:cNvPr id="6" name="Grafik 3">
              <a:extLst>
                <a:ext uri="{FF2B5EF4-FFF2-40B4-BE49-F238E27FC236}">
                  <a16:creationId xmlns:a16="http://schemas.microsoft.com/office/drawing/2014/main" id="{79D87103-3D0A-45E3-B668-381E42CD7843}"/>
                </a:ext>
              </a:extLst>
            </p:cNvPr>
            <p:cNvGrpSpPr/>
            <p:nvPr/>
          </p:nvGrpSpPr>
          <p:grpSpPr>
            <a:xfrm>
              <a:off x="4816893" y="1239412"/>
              <a:ext cx="2804166" cy="1296757"/>
              <a:chOff x="4816893" y="1239412"/>
              <a:chExt cx="2804166" cy="1296757"/>
            </a:xfrm>
          </p:grpSpPr>
          <p:sp>
            <p:nvSpPr>
              <p:cNvPr id="9" name="Freihandform: Form 8">
                <a:extLst>
                  <a:ext uri="{FF2B5EF4-FFF2-40B4-BE49-F238E27FC236}">
                    <a16:creationId xmlns:a16="http://schemas.microsoft.com/office/drawing/2014/main" id="{F10072F2-DAC1-4AA0-A319-907D4FB12B1E}"/>
                  </a:ext>
                </a:extLst>
              </p:cNvPr>
              <p:cNvSpPr/>
              <p:nvPr/>
            </p:nvSpPr>
            <p:spPr>
              <a:xfrm>
                <a:off x="5627985" y="2307106"/>
                <a:ext cx="417399" cy="196997"/>
              </a:xfrm>
              <a:custGeom>
                <a:avLst/>
                <a:gdLst>
                  <a:gd name="connsiteX0" fmla="*/ 194833 w 417399"/>
                  <a:gd name="connsiteY0" fmla="*/ 9497 h 196997"/>
                  <a:gd name="connsiteX1" fmla="*/ 459 w 417399"/>
                  <a:gd name="connsiteY1" fmla="*/ 140911 h 196997"/>
                  <a:gd name="connsiteX2" fmla="*/ 416826 w 417399"/>
                  <a:gd name="connsiteY2" fmla="*/ 56568 h 196997"/>
                  <a:gd name="connsiteX3" fmla="*/ 194833 w 417399"/>
                  <a:gd name="connsiteY3" fmla="*/ 9497 h 196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7399" h="196997">
                    <a:moveTo>
                      <a:pt x="194833" y="9497"/>
                    </a:moveTo>
                    <a:cubicBezTo>
                      <a:pt x="79901" y="32810"/>
                      <a:pt x="-7114" y="91612"/>
                      <a:pt x="459" y="140911"/>
                    </a:cubicBezTo>
                    <a:cubicBezTo>
                      <a:pt x="18575" y="257773"/>
                      <a:pt x="434941" y="173579"/>
                      <a:pt x="416826" y="56568"/>
                    </a:cubicBezTo>
                    <a:cubicBezTo>
                      <a:pt x="409104" y="7270"/>
                      <a:pt x="309764" y="-13816"/>
                      <a:pt x="194833" y="9497"/>
                    </a:cubicBezTo>
                    <a:close/>
                  </a:path>
                </a:pathLst>
              </a:custGeom>
              <a:no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B141E195-2AD1-4B2B-AE29-01C6ABC93FE3}"/>
                  </a:ext>
                </a:extLst>
              </p:cNvPr>
              <p:cNvSpPr/>
              <p:nvPr/>
            </p:nvSpPr>
            <p:spPr>
              <a:xfrm>
                <a:off x="6410631" y="1261436"/>
                <a:ext cx="418431" cy="196445"/>
              </a:xfrm>
              <a:custGeom>
                <a:avLst/>
                <a:gdLst>
                  <a:gd name="connsiteX0" fmla="*/ 197106 w 418431"/>
                  <a:gd name="connsiteY0" fmla="*/ 8906 h 196445"/>
                  <a:gd name="connsiteX1" fmla="*/ 357 w 418431"/>
                  <a:gd name="connsiteY1" fmla="*/ 138983 h 196445"/>
                  <a:gd name="connsiteX2" fmla="*/ 221458 w 418431"/>
                  <a:gd name="connsiteY2" fmla="*/ 187539 h 196445"/>
                  <a:gd name="connsiteX3" fmla="*/ 418059 w 418431"/>
                  <a:gd name="connsiteY3" fmla="*/ 57462 h 196445"/>
                  <a:gd name="connsiteX4" fmla="*/ 197106 w 418431"/>
                  <a:gd name="connsiteY4" fmla="*/ 8906 h 196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8431" h="196445">
                    <a:moveTo>
                      <a:pt x="197106" y="8906"/>
                    </a:moveTo>
                    <a:cubicBezTo>
                      <a:pt x="81729" y="31476"/>
                      <a:pt x="-6326" y="89685"/>
                      <a:pt x="357" y="138983"/>
                    </a:cubicBezTo>
                    <a:cubicBezTo>
                      <a:pt x="7187" y="188282"/>
                      <a:pt x="106081" y="210110"/>
                      <a:pt x="221458" y="187539"/>
                    </a:cubicBezTo>
                    <a:cubicBezTo>
                      <a:pt x="336835" y="164969"/>
                      <a:pt x="424890" y="106761"/>
                      <a:pt x="418059" y="57462"/>
                    </a:cubicBezTo>
                    <a:cubicBezTo>
                      <a:pt x="411526" y="8163"/>
                      <a:pt x="312483" y="-13665"/>
                      <a:pt x="197106" y="8906"/>
                    </a:cubicBezTo>
                    <a:close/>
                  </a:path>
                </a:pathLst>
              </a:custGeom>
              <a:no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351EFB05-BCE7-4BAF-BE74-5C88F95D9318}"/>
                  </a:ext>
                </a:extLst>
              </p:cNvPr>
              <p:cNvSpPr/>
              <p:nvPr/>
            </p:nvSpPr>
            <p:spPr>
              <a:xfrm>
                <a:off x="4816893" y="1941665"/>
                <a:ext cx="2537600" cy="594504"/>
              </a:xfrm>
              <a:custGeom>
                <a:avLst/>
                <a:gdLst>
                  <a:gd name="connsiteX0" fmla="*/ 1364974 w 2537600"/>
                  <a:gd name="connsiteY0" fmla="*/ 0 h 594504"/>
                  <a:gd name="connsiteX1" fmla="*/ 3468 w 2537600"/>
                  <a:gd name="connsiteY1" fmla="*/ 126365 h 594504"/>
                  <a:gd name="connsiteX2" fmla="*/ 238528 w 2537600"/>
                  <a:gd name="connsiteY2" fmla="*/ 460468 h 594504"/>
                  <a:gd name="connsiteX3" fmla="*/ 1876820 w 2537600"/>
                  <a:gd name="connsiteY3" fmla="*/ 443094 h 594504"/>
                  <a:gd name="connsiteX4" fmla="*/ 2537601 w 2537600"/>
                  <a:gd name="connsiteY4" fmla="*/ 138690 h 594504"/>
                  <a:gd name="connsiteX5" fmla="*/ 1988187 w 2537600"/>
                  <a:gd name="connsiteY5" fmla="*/ 349100 h 594504"/>
                  <a:gd name="connsiteX6" fmla="*/ 1364974 w 2537600"/>
                  <a:gd name="connsiteY6" fmla="*/ 0 h 594504"/>
                  <a:gd name="connsiteX7" fmla="*/ 811551 w 2537600"/>
                  <a:gd name="connsiteY7" fmla="*/ 506351 h 594504"/>
                  <a:gd name="connsiteX8" fmla="*/ 1005925 w 2537600"/>
                  <a:gd name="connsiteY8" fmla="*/ 374938 h 594504"/>
                  <a:gd name="connsiteX9" fmla="*/ 1227918 w 2537600"/>
                  <a:gd name="connsiteY9" fmla="*/ 422009 h 594504"/>
                  <a:gd name="connsiteX10" fmla="*/ 811551 w 2537600"/>
                  <a:gd name="connsiteY10" fmla="*/ 506351 h 594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37600" h="594504">
                    <a:moveTo>
                      <a:pt x="1364974" y="0"/>
                    </a:moveTo>
                    <a:cubicBezTo>
                      <a:pt x="1040375" y="319402"/>
                      <a:pt x="96126" y="636429"/>
                      <a:pt x="3468" y="126365"/>
                    </a:cubicBezTo>
                    <a:cubicBezTo>
                      <a:pt x="3468" y="126365"/>
                      <a:pt x="-47167" y="334845"/>
                      <a:pt x="238528" y="460468"/>
                    </a:cubicBezTo>
                    <a:cubicBezTo>
                      <a:pt x="665882" y="648308"/>
                      <a:pt x="1278404" y="635241"/>
                      <a:pt x="1876820" y="443094"/>
                    </a:cubicBezTo>
                    <a:cubicBezTo>
                      <a:pt x="2044168" y="389341"/>
                      <a:pt x="2231563" y="309453"/>
                      <a:pt x="2537601" y="138690"/>
                    </a:cubicBezTo>
                    <a:cubicBezTo>
                      <a:pt x="2394902" y="206550"/>
                      <a:pt x="2184788" y="298465"/>
                      <a:pt x="1988187" y="349100"/>
                    </a:cubicBezTo>
                    <a:cubicBezTo>
                      <a:pt x="1661509" y="433146"/>
                      <a:pt x="1213811" y="421118"/>
                      <a:pt x="1364974" y="0"/>
                    </a:cubicBezTo>
                    <a:close/>
                    <a:moveTo>
                      <a:pt x="811551" y="506351"/>
                    </a:moveTo>
                    <a:cubicBezTo>
                      <a:pt x="803978" y="457053"/>
                      <a:pt x="890845" y="398250"/>
                      <a:pt x="1005925" y="374938"/>
                    </a:cubicBezTo>
                    <a:cubicBezTo>
                      <a:pt x="1120856" y="351625"/>
                      <a:pt x="1220345" y="372710"/>
                      <a:pt x="1227918" y="422009"/>
                    </a:cubicBezTo>
                    <a:cubicBezTo>
                      <a:pt x="1246034" y="539019"/>
                      <a:pt x="829667" y="623213"/>
                      <a:pt x="811551" y="506351"/>
                    </a:cubicBezTo>
                    <a:close/>
                  </a:path>
                </a:pathLst>
              </a:custGeom>
              <a:solidFill>
                <a:srgbClr val="00A3C5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AB147E4B-F336-4716-BE6B-3CC00856A14C}"/>
                  </a:ext>
                </a:extLst>
              </p:cNvPr>
              <p:cNvSpPr/>
              <p:nvPr/>
            </p:nvSpPr>
            <p:spPr>
              <a:xfrm>
                <a:off x="5190844" y="1239412"/>
                <a:ext cx="2430216" cy="591627"/>
              </a:xfrm>
              <a:custGeom>
                <a:avLst/>
                <a:gdLst>
                  <a:gd name="connsiteX0" fmla="*/ 1559147 w 2430216"/>
                  <a:gd name="connsiteY0" fmla="*/ 2419 h 591627"/>
                  <a:gd name="connsiteX1" fmla="*/ 0 w 2430216"/>
                  <a:gd name="connsiteY1" fmla="*/ 404085 h 591627"/>
                  <a:gd name="connsiteX2" fmla="*/ 1071060 w 2430216"/>
                  <a:gd name="connsiteY2" fmla="*/ 591628 h 591627"/>
                  <a:gd name="connsiteX3" fmla="*/ 2429150 w 2430216"/>
                  <a:gd name="connsiteY3" fmla="*/ 457244 h 591627"/>
                  <a:gd name="connsiteX4" fmla="*/ 1559147 w 2430216"/>
                  <a:gd name="connsiteY4" fmla="*/ 2419 h 591627"/>
                  <a:gd name="connsiteX5" fmla="*/ 1441394 w 2430216"/>
                  <a:gd name="connsiteY5" fmla="*/ 209563 h 591627"/>
                  <a:gd name="connsiteX6" fmla="*/ 1220292 w 2430216"/>
                  <a:gd name="connsiteY6" fmla="*/ 161007 h 591627"/>
                  <a:gd name="connsiteX7" fmla="*/ 1417042 w 2430216"/>
                  <a:gd name="connsiteY7" fmla="*/ 30929 h 591627"/>
                  <a:gd name="connsiteX8" fmla="*/ 1638144 w 2430216"/>
                  <a:gd name="connsiteY8" fmla="*/ 79485 h 591627"/>
                  <a:gd name="connsiteX9" fmla="*/ 1441394 w 2430216"/>
                  <a:gd name="connsiteY9" fmla="*/ 209563 h 591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30216" h="591627">
                    <a:moveTo>
                      <a:pt x="1559147" y="2419"/>
                    </a:moveTo>
                    <a:cubicBezTo>
                      <a:pt x="1559147" y="2419"/>
                      <a:pt x="792641" y="-56235"/>
                      <a:pt x="0" y="404085"/>
                    </a:cubicBezTo>
                    <a:cubicBezTo>
                      <a:pt x="374641" y="203772"/>
                      <a:pt x="1288152" y="43"/>
                      <a:pt x="1071060" y="591628"/>
                    </a:cubicBezTo>
                    <a:cubicBezTo>
                      <a:pt x="1401450" y="274304"/>
                      <a:pt x="2351787" y="-44949"/>
                      <a:pt x="2429150" y="457244"/>
                    </a:cubicBezTo>
                    <a:cubicBezTo>
                      <a:pt x="2429150" y="457244"/>
                      <a:pt x="2496565" y="43"/>
                      <a:pt x="1559147" y="2419"/>
                    </a:cubicBezTo>
                    <a:close/>
                    <a:moveTo>
                      <a:pt x="1441394" y="209563"/>
                    </a:moveTo>
                    <a:cubicBezTo>
                      <a:pt x="1326017" y="232133"/>
                      <a:pt x="1226974" y="210305"/>
                      <a:pt x="1220292" y="161007"/>
                    </a:cubicBezTo>
                    <a:cubicBezTo>
                      <a:pt x="1213462" y="111708"/>
                      <a:pt x="1301517" y="53351"/>
                      <a:pt x="1417042" y="30929"/>
                    </a:cubicBezTo>
                    <a:cubicBezTo>
                      <a:pt x="1532419" y="8359"/>
                      <a:pt x="1631462" y="30187"/>
                      <a:pt x="1638144" y="79485"/>
                    </a:cubicBezTo>
                    <a:cubicBezTo>
                      <a:pt x="1644826" y="128784"/>
                      <a:pt x="1556771" y="187141"/>
                      <a:pt x="1441394" y="209563"/>
                    </a:cubicBezTo>
                    <a:close/>
                  </a:path>
                </a:pathLst>
              </a:custGeom>
              <a:solidFill>
                <a:srgbClr val="71B73C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7" name="Grafik 3">
              <a:extLst>
                <a:ext uri="{FF2B5EF4-FFF2-40B4-BE49-F238E27FC236}">
                  <a16:creationId xmlns:a16="http://schemas.microsoft.com/office/drawing/2014/main" id="{79D87103-3D0A-45E3-B668-381E42CD7843}"/>
                </a:ext>
              </a:extLst>
            </p:cNvPr>
            <p:cNvGrpSpPr/>
            <p:nvPr/>
          </p:nvGrpSpPr>
          <p:grpSpPr>
            <a:xfrm>
              <a:off x="839786" y="1665771"/>
              <a:ext cx="4596648" cy="396765"/>
              <a:chOff x="839786" y="1665771"/>
              <a:chExt cx="4596648" cy="396765"/>
            </a:xfrm>
            <a:solidFill>
              <a:srgbClr val="010102"/>
            </a:solidFill>
          </p:grpSpPr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6C68F9CE-462B-46DC-929E-45633D3890E9}"/>
                  </a:ext>
                </a:extLst>
              </p:cNvPr>
              <p:cNvSpPr/>
              <p:nvPr/>
            </p:nvSpPr>
            <p:spPr>
              <a:xfrm>
                <a:off x="839786" y="1665919"/>
                <a:ext cx="248127" cy="313017"/>
              </a:xfrm>
              <a:custGeom>
                <a:avLst/>
                <a:gdLst>
                  <a:gd name="connsiteX0" fmla="*/ 0 w 248127"/>
                  <a:gd name="connsiteY0" fmla="*/ 0 h 313017"/>
                  <a:gd name="connsiteX1" fmla="*/ 248127 w 248127"/>
                  <a:gd name="connsiteY1" fmla="*/ 0 h 313017"/>
                  <a:gd name="connsiteX2" fmla="*/ 248127 w 248127"/>
                  <a:gd name="connsiteY2" fmla="*/ 25392 h 313017"/>
                  <a:gd name="connsiteX3" fmla="*/ 138987 w 248127"/>
                  <a:gd name="connsiteY3" fmla="*/ 25392 h 313017"/>
                  <a:gd name="connsiteX4" fmla="*/ 138987 w 248127"/>
                  <a:gd name="connsiteY4" fmla="*/ 313017 h 313017"/>
                  <a:gd name="connsiteX5" fmla="*/ 109140 w 248127"/>
                  <a:gd name="connsiteY5" fmla="*/ 313017 h 313017"/>
                  <a:gd name="connsiteX6" fmla="*/ 109140 w 248127"/>
                  <a:gd name="connsiteY6" fmla="*/ 25392 h 313017"/>
                  <a:gd name="connsiteX7" fmla="*/ 0 w 248127"/>
                  <a:gd name="connsiteY7" fmla="*/ 25392 h 313017"/>
                  <a:gd name="connsiteX8" fmla="*/ 0 w 248127"/>
                  <a:gd name="connsiteY8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8127" h="313017">
                    <a:moveTo>
                      <a:pt x="0" y="0"/>
                    </a:moveTo>
                    <a:lnTo>
                      <a:pt x="248127" y="0"/>
                    </a:lnTo>
                    <a:lnTo>
                      <a:pt x="248127" y="25392"/>
                    </a:lnTo>
                    <a:lnTo>
                      <a:pt x="138987" y="25392"/>
                    </a:lnTo>
                    <a:lnTo>
                      <a:pt x="138987" y="313017"/>
                    </a:lnTo>
                    <a:lnTo>
                      <a:pt x="109140" y="313017"/>
                    </a:lnTo>
                    <a:lnTo>
                      <a:pt x="109140" y="25392"/>
                    </a:lnTo>
                    <a:lnTo>
                      <a:pt x="0" y="253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E61E0A43-8150-457F-9329-B26481089BA7}"/>
                  </a:ext>
                </a:extLst>
              </p:cNvPr>
              <p:cNvSpPr/>
              <p:nvPr/>
            </p:nvSpPr>
            <p:spPr>
              <a:xfrm>
                <a:off x="1117314" y="1665919"/>
                <a:ext cx="218429" cy="313017"/>
              </a:xfrm>
              <a:custGeom>
                <a:avLst/>
                <a:gdLst>
                  <a:gd name="connsiteX0" fmla="*/ 0 w 218429"/>
                  <a:gd name="connsiteY0" fmla="*/ 0 h 313017"/>
                  <a:gd name="connsiteX1" fmla="*/ 216202 w 218429"/>
                  <a:gd name="connsiteY1" fmla="*/ 0 h 313017"/>
                  <a:gd name="connsiteX2" fmla="*/ 216202 w 218429"/>
                  <a:gd name="connsiteY2" fmla="*/ 25392 h 313017"/>
                  <a:gd name="connsiteX3" fmla="*/ 29847 w 218429"/>
                  <a:gd name="connsiteY3" fmla="*/ 25392 h 313017"/>
                  <a:gd name="connsiteX4" fmla="*/ 29847 w 218429"/>
                  <a:gd name="connsiteY4" fmla="*/ 138541 h 313017"/>
                  <a:gd name="connsiteX5" fmla="*/ 204322 w 218429"/>
                  <a:gd name="connsiteY5" fmla="*/ 138541 h 313017"/>
                  <a:gd name="connsiteX6" fmla="*/ 204322 w 218429"/>
                  <a:gd name="connsiteY6" fmla="*/ 163933 h 313017"/>
                  <a:gd name="connsiteX7" fmla="*/ 29847 w 218429"/>
                  <a:gd name="connsiteY7" fmla="*/ 163933 h 313017"/>
                  <a:gd name="connsiteX8" fmla="*/ 29847 w 218429"/>
                  <a:gd name="connsiteY8" fmla="*/ 287625 h 313017"/>
                  <a:gd name="connsiteX9" fmla="*/ 218429 w 218429"/>
                  <a:gd name="connsiteY9" fmla="*/ 287625 h 313017"/>
                  <a:gd name="connsiteX10" fmla="*/ 218429 w 218429"/>
                  <a:gd name="connsiteY10" fmla="*/ 313017 h 313017"/>
                  <a:gd name="connsiteX11" fmla="*/ 148 w 218429"/>
                  <a:gd name="connsiteY11" fmla="*/ 313017 h 313017"/>
                  <a:gd name="connsiteX12" fmla="*/ 148 w 218429"/>
                  <a:gd name="connsiteY12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8429" h="313017">
                    <a:moveTo>
                      <a:pt x="0" y="0"/>
                    </a:moveTo>
                    <a:lnTo>
                      <a:pt x="216202" y="0"/>
                    </a:lnTo>
                    <a:lnTo>
                      <a:pt x="216202" y="25392"/>
                    </a:lnTo>
                    <a:lnTo>
                      <a:pt x="29847" y="25392"/>
                    </a:lnTo>
                    <a:lnTo>
                      <a:pt x="29847" y="138541"/>
                    </a:lnTo>
                    <a:lnTo>
                      <a:pt x="204322" y="138541"/>
                    </a:lnTo>
                    <a:lnTo>
                      <a:pt x="204322" y="163933"/>
                    </a:lnTo>
                    <a:lnTo>
                      <a:pt x="29847" y="163933"/>
                    </a:lnTo>
                    <a:lnTo>
                      <a:pt x="29847" y="287625"/>
                    </a:lnTo>
                    <a:lnTo>
                      <a:pt x="218429" y="287625"/>
                    </a:lnTo>
                    <a:lnTo>
                      <a:pt x="218429" y="313017"/>
                    </a:lnTo>
                    <a:lnTo>
                      <a:pt x="148" y="313017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1F01EC7D-CC37-4748-AC1D-2FE5FA0ECCFD}"/>
                  </a:ext>
                </a:extLst>
              </p:cNvPr>
              <p:cNvSpPr/>
              <p:nvPr/>
            </p:nvSpPr>
            <p:spPr>
              <a:xfrm>
                <a:off x="1362174" y="1666216"/>
                <a:ext cx="278122" cy="312720"/>
              </a:xfrm>
              <a:custGeom>
                <a:avLst/>
                <a:gdLst>
                  <a:gd name="connsiteX0" fmla="*/ 243969 w 278122"/>
                  <a:gd name="connsiteY0" fmla="*/ 100973 h 312720"/>
                  <a:gd name="connsiteX1" fmla="*/ 231051 w 278122"/>
                  <a:gd name="connsiteY1" fmla="*/ 68751 h 312720"/>
                  <a:gd name="connsiteX2" fmla="*/ 209074 w 278122"/>
                  <a:gd name="connsiteY2" fmla="*/ 44844 h 312720"/>
                  <a:gd name="connsiteX3" fmla="*/ 180564 w 278122"/>
                  <a:gd name="connsiteY3" fmla="*/ 30144 h 312720"/>
                  <a:gd name="connsiteX4" fmla="*/ 147896 w 278122"/>
                  <a:gd name="connsiteY4" fmla="*/ 25095 h 312720"/>
                  <a:gd name="connsiteX5" fmla="*/ 94440 w 278122"/>
                  <a:gd name="connsiteY5" fmla="*/ 36380 h 312720"/>
                  <a:gd name="connsiteX6" fmla="*/ 57763 w 278122"/>
                  <a:gd name="connsiteY6" fmla="*/ 66227 h 312720"/>
                  <a:gd name="connsiteX7" fmla="*/ 36677 w 278122"/>
                  <a:gd name="connsiteY7" fmla="*/ 108398 h 312720"/>
                  <a:gd name="connsiteX8" fmla="*/ 29846 w 278122"/>
                  <a:gd name="connsiteY8" fmla="*/ 156212 h 312720"/>
                  <a:gd name="connsiteX9" fmla="*/ 36677 w 278122"/>
                  <a:gd name="connsiteY9" fmla="*/ 204174 h 312720"/>
                  <a:gd name="connsiteX10" fmla="*/ 57763 w 278122"/>
                  <a:gd name="connsiteY10" fmla="*/ 246197 h 312720"/>
                  <a:gd name="connsiteX11" fmla="*/ 94440 w 278122"/>
                  <a:gd name="connsiteY11" fmla="*/ 276043 h 312720"/>
                  <a:gd name="connsiteX12" fmla="*/ 147896 w 278122"/>
                  <a:gd name="connsiteY12" fmla="*/ 287328 h 312720"/>
                  <a:gd name="connsiteX13" fmla="*/ 187098 w 278122"/>
                  <a:gd name="connsiteY13" fmla="*/ 279458 h 312720"/>
                  <a:gd name="connsiteX14" fmla="*/ 217538 w 278122"/>
                  <a:gd name="connsiteY14" fmla="*/ 257927 h 312720"/>
                  <a:gd name="connsiteX15" fmla="*/ 238178 w 278122"/>
                  <a:gd name="connsiteY15" fmla="*/ 226150 h 312720"/>
                  <a:gd name="connsiteX16" fmla="*/ 248276 w 278122"/>
                  <a:gd name="connsiteY16" fmla="*/ 186949 h 312720"/>
                  <a:gd name="connsiteX17" fmla="*/ 278122 w 278122"/>
                  <a:gd name="connsiteY17" fmla="*/ 186949 h 312720"/>
                  <a:gd name="connsiteX18" fmla="*/ 264461 w 278122"/>
                  <a:gd name="connsiteY18" fmla="*/ 239069 h 312720"/>
                  <a:gd name="connsiteX19" fmla="*/ 237287 w 278122"/>
                  <a:gd name="connsiteY19" fmla="*/ 278716 h 312720"/>
                  <a:gd name="connsiteX20" fmla="*/ 198086 w 278122"/>
                  <a:gd name="connsiteY20" fmla="*/ 303959 h 312720"/>
                  <a:gd name="connsiteX21" fmla="*/ 147896 w 278122"/>
                  <a:gd name="connsiteY21" fmla="*/ 312720 h 312720"/>
                  <a:gd name="connsiteX22" fmla="*/ 83154 w 278122"/>
                  <a:gd name="connsiteY22" fmla="*/ 299950 h 312720"/>
                  <a:gd name="connsiteX23" fmla="*/ 36826 w 278122"/>
                  <a:gd name="connsiteY23" fmla="*/ 265500 h 312720"/>
                  <a:gd name="connsiteX24" fmla="*/ 9206 w 278122"/>
                  <a:gd name="connsiteY24" fmla="*/ 215459 h 312720"/>
                  <a:gd name="connsiteX25" fmla="*/ 0 w 278122"/>
                  <a:gd name="connsiteY25" fmla="*/ 156360 h 312720"/>
                  <a:gd name="connsiteX26" fmla="*/ 9206 w 278122"/>
                  <a:gd name="connsiteY26" fmla="*/ 97261 h 312720"/>
                  <a:gd name="connsiteX27" fmla="*/ 36826 w 278122"/>
                  <a:gd name="connsiteY27" fmla="*/ 47220 h 312720"/>
                  <a:gd name="connsiteX28" fmla="*/ 83154 w 278122"/>
                  <a:gd name="connsiteY28" fmla="*/ 12770 h 312720"/>
                  <a:gd name="connsiteX29" fmla="*/ 147896 w 278122"/>
                  <a:gd name="connsiteY29" fmla="*/ 0 h 312720"/>
                  <a:gd name="connsiteX30" fmla="*/ 191552 w 278122"/>
                  <a:gd name="connsiteY30" fmla="*/ 6534 h 312720"/>
                  <a:gd name="connsiteX31" fmla="*/ 230160 w 278122"/>
                  <a:gd name="connsiteY31" fmla="*/ 25986 h 312720"/>
                  <a:gd name="connsiteX32" fmla="*/ 259115 w 278122"/>
                  <a:gd name="connsiteY32" fmla="*/ 57763 h 312720"/>
                  <a:gd name="connsiteX33" fmla="*/ 273816 w 278122"/>
                  <a:gd name="connsiteY33" fmla="*/ 101122 h 312720"/>
                  <a:gd name="connsiteX34" fmla="*/ 243969 w 278122"/>
                  <a:gd name="connsiteY34" fmla="*/ 101122 h 3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78122" h="312720">
                    <a:moveTo>
                      <a:pt x="243969" y="100973"/>
                    </a:moveTo>
                    <a:cubicBezTo>
                      <a:pt x="241297" y="88946"/>
                      <a:pt x="236990" y="78254"/>
                      <a:pt x="231051" y="68751"/>
                    </a:cubicBezTo>
                    <a:cubicBezTo>
                      <a:pt x="225111" y="59248"/>
                      <a:pt x="217687" y="51229"/>
                      <a:pt x="209074" y="44844"/>
                    </a:cubicBezTo>
                    <a:cubicBezTo>
                      <a:pt x="200462" y="38459"/>
                      <a:pt x="190958" y="33559"/>
                      <a:pt x="180564" y="30144"/>
                    </a:cubicBezTo>
                    <a:cubicBezTo>
                      <a:pt x="170170" y="26728"/>
                      <a:pt x="159330" y="25095"/>
                      <a:pt x="147896" y="25095"/>
                    </a:cubicBezTo>
                    <a:cubicBezTo>
                      <a:pt x="127108" y="25095"/>
                      <a:pt x="109289" y="28807"/>
                      <a:pt x="94440" y="36380"/>
                    </a:cubicBezTo>
                    <a:cubicBezTo>
                      <a:pt x="79591" y="43953"/>
                      <a:pt x="67266" y="53902"/>
                      <a:pt x="57763" y="66227"/>
                    </a:cubicBezTo>
                    <a:cubicBezTo>
                      <a:pt x="48259" y="78551"/>
                      <a:pt x="41280" y="92658"/>
                      <a:pt x="36677" y="108398"/>
                    </a:cubicBezTo>
                    <a:cubicBezTo>
                      <a:pt x="32074" y="124138"/>
                      <a:pt x="29846" y="140026"/>
                      <a:pt x="29846" y="156212"/>
                    </a:cubicBezTo>
                    <a:cubicBezTo>
                      <a:pt x="29846" y="172694"/>
                      <a:pt x="32074" y="188582"/>
                      <a:pt x="36677" y="204174"/>
                    </a:cubicBezTo>
                    <a:cubicBezTo>
                      <a:pt x="41280" y="219765"/>
                      <a:pt x="48259" y="233723"/>
                      <a:pt x="57763" y="246197"/>
                    </a:cubicBezTo>
                    <a:cubicBezTo>
                      <a:pt x="67266" y="258521"/>
                      <a:pt x="79442" y="268470"/>
                      <a:pt x="94440" y="276043"/>
                    </a:cubicBezTo>
                    <a:cubicBezTo>
                      <a:pt x="109289" y="283616"/>
                      <a:pt x="127108" y="287328"/>
                      <a:pt x="147896" y="287328"/>
                    </a:cubicBezTo>
                    <a:cubicBezTo>
                      <a:pt x="162151" y="287328"/>
                      <a:pt x="175367" y="284656"/>
                      <a:pt x="187098" y="279458"/>
                    </a:cubicBezTo>
                    <a:cubicBezTo>
                      <a:pt x="198977" y="274261"/>
                      <a:pt x="209074" y="266985"/>
                      <a:pt x="217538" y="257927"/>
                    </a:cubicBezTo>
                    <a:cubicBezTo>
                      <a:pt x="226002" y="248869"/>
                      <a:pt x="232833" y="238327"/>
                      <a:pt x="238178" y="226150"/>
                    </a:cubicBezTo>
                    <a:cubicBezTo>
                      <a:pt x="243375" y="213974"/>
                      <a:pt x="246791" y="200907"/>
                      <a:pt x="248276" y="186949"/>
                    </a:cubicBezTo>
                    <a:lnTo>
                      <a:pt x="278122" y="186949"/>
                    </a:lnTo>
                    <a:cubicBezTo>
                      <a:pt x="276043" y="206253"/>
                      <a:pt x="271589" y="223626"/>
                      <a:pt x="264461" y="239069"/>
                    </a:cubicBezTo>
                    <a:cubicBezTo>
                      <a:pt x="257482" y="254512"/>
                      <a:pt x="248424" y="267728"/>
                      <a:pt x="237287" y="278716"/>
                    </a:cubicBezTo>
                    <a:cubicBezTo>
                      <a:pt x="226151" y="289704"/>
                      <a:pt x="213083" y="298020"/>
                      <a:pt x="198086" y="303959"/>
                    </a:cubicBezTo>
                    <a:cubicBezTo>
                      <a:pt x="183088" y="309750"/>
                      <a:pt x="166309" y="312720"/>
                      <a:pt x="147896" y="312720"/>
                    </a:cubicBezTo>
                    <a:cubicBezTo>
                      <a:pt x="123395" y="312720"/>
                      <a:pt x="101716" y="308414"/>
                      <a:pt x="83154" y="299950"/>
                    </a:cubicBezTo>
                    <a:cubicBezTo>
                      <a:pt x="64593" y="291338"/>
                      <a:pt x="49150" y="279904"/>
                      <a:pt x="36826" y="265500"/>
                    </a:cubicBezTo>
                    <a:cubicBezTo>
                      <a:pt x="24501" y="251097"/>
                      <a:pt x="15294" y="234317"/>
                      <a:pt x="9206" y="215459"/>
                    </a:cubicBezTo>
                    <a:cubicBezTo>
                      <a:pt x="3118" y="196452"/>
                      <a:pt x="0" y="176852"/>
                      <a:pt x="0" y="156360"/>
                    </a:cubicBezTo>
                    <a:cubicBezTo>
                      <a:pt x="0" y="135868"/>
                      <a:pt x="3118" y="116119"/>
                      <a:pt x="9206" y="97261"/>
                    </a:cubicBezTo>
                    <a:cubicBezTo>
                      <a:pt x="15294" y="78403"/>
                      <a:pt x="24501" y="61623"/>
                      <a:pt x="36826" y="47220"/>
                    </a:cubicBezTo>
                    <a:cubicBezTo>
                      <a:pt x="49150" y="32816"/>
                      <a:pt x="64593" y="21234"/>
                      <a:pt x="83154" y="12770"/>
                    </a:cubicBezTo>
                    <a:cubicBezTo>
                      <a:pt x="101716" y="4158"/>
                      <a:pt x="123247" y="0"/>
                      <a:pt x="147896" y="0"/>
                    </a:cubicBezTo>
                    <a:cubicBezTo>
                      <a:pt x="162745" y="0"/>
                      <a:pt x="177297" y="2227"/>
                      <a:pt x="191552" y="6534"/>
                    </a:cubicBezTo>
                    <a:cubicBezTo>
                      <a:pt x="205659" y="10840"/>
                      <a:pt x="218578" y="17373"/>
                      <a:pt x="230160" y="25986"/>
                    </a:cubicBezTo>
                    <a:cubicBezTo>
                      <a:pt x="241742" y="34598"/>
                      <a:pt x="251394" y="45141"/>
                      <a:pt x="259115" y="57763"/>
                    </a:cubicBezTo>
                    <a:cubicBezTo>
                      <a:pt x="266837" y="70384"/>
                      <a:pt x="271737" y="84788"/>
                      <a:pt x="273816" y="101122"/>
                    </a:cubicBezTo>
                    <a:lnTo>
                      <a:pt x="243969" y="101122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1A538A50-351F-43C7-BACA-5AFF7BE6D926}"/>
                  </a:ext>
                </a:extLst>
              </p:cNvPr>
              <p:cNvSpPr/>
              <p:nvPr/>
            </p:nvSpPr>
            <p:spPr>
              <a:xfrm>
                <a:off x="1807793" y="1665919"/>
                <a:ext cx="205213" cy="313017"/>
              </a:xfrm>
              <a:custGeom>
                <a:avLst/>
                <a:gdLst>
                  <a:gd name="connsiteX0" fmla="*/ 0 w 205213"/>
                  <a:gd name="connsiteY0" fmla="*/ 0 h 313017"/>
                  <a:gd name="connsiteX1" fmla="*/ 29846 w 205213"/>
                  <a:gd name="connsiteY1" fmla="*/ 0 h 313017"/>
                  <a:gd name="connsiteX2" fmla="*/ 29846 w 205213"/>
                  <a:gd name="connsiteY2" fmla="*/ 287625 h 313017"/>
                  <a:gd name="connsiteX3" fmla="*/ 205213 w 205213"/>
                  <a:gd name="connsiteY3" fmla="*/ 287625 h 313017"/>
                  <a:gd name="connsiteX4" fmla="*/ 205213 w 205213"/>
                  <a:gd name="connsiteY4" fmla="*/ 313017 h 313017"/>
                  <a:gd name="connsiteX5" fmla="*/ 0 w 205213"/>
                  <a:gd name="connsiteY5" fmla="*/ 313017 h 313017"/>
                  <a:gd name="connsiteX6" fmla="*/ 0 w 205213"/>
                  <a:gd name="connsiteY6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213" h="313017">
                    <a:moveTo>
                      <a:pt x="0" y="0"/>
                    </a:moveTo>
                    <a:lnTo>
                      <a:pt x="29846" y="0"/>
                    </a:lnTo>
                    <a:lnTo>
                      <a:pt x="29846" y="287625"/>
                    </a:lnTo>
                    <a:lnTo>
                      <a:pt x="205213" y="287625"/>
                    </a:lnTo>
                    <a:lnTo>
                      <a:pt x="205213" y="313017"/>
                    </a:lnTo>
                    <a:lnTo>
                      <a:pt x="0" y="3130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BFFFA41-40B8-4CF1-A28B-5913F206A0C5}"/>
                  </a:ext>
                </a:extLst>
              </p:cNvPr>
              <p:cNvSpPr/>
              <p:nvPr/>
            </p:nvSpPr>
            <p:spPr>
              <a:xfrm>
                <a:off x="2026667" y="1752489"/>
                <a:ext cx="202029" cy="226298"/>
              </a:xfrm>
              <a:custGeom>
                <a:avLst/>
                <a:gdLst>
                  <a:gd name="connsiteX0" fmla="*/ 27619 w 202029"/>
                  <a:gd name="connsiteY0" fmla="*/ 120722 h 226298"/>
                  <a:gd name="connsiteX1" fmla="*/ 32074 w 202029"/>
                  <a:gd name="connsiteY1" fmla="*/ 149530 h 226298"/>
                  <a:gd name="connsiteX2" fmla="*/ 45290 w 202029"/>
                  <a:gd name="connsiteY2" fmla="*/ 175961 h 226298"/>
                  <a:gd name="connsiteX3" fmla="*/ 68305 w 202029"/>
                  <a:gd name="connsiteY3" fmla="*/ 195413 h 226298"/>
                  <a:gd name="connsiteX4" fmla="*/ 102310 w 202029"/>
                  <a:gd name="connsiteY4" fmla="*/ 203134 h 226298"/>
                  <a:gd name="connsiteX5" fmla="*/ 149678 w 202029"/>
                  <a:gd name="connsiteY5" fmla="*/ 187098 h 226298"/>
                  <a:gd name="connsiteX6" fmla="*/ 173288 w 202029"/>
                  <a:gd name="connsiteY6" fmla="*/ 145223 h 226298"/>
                  <a:gd name="connsiteX7" fmla="*/ 200907 w 202029"/>
                  <a:gd name="connsiteY7" fmla="*/ 145223 h 226298"/>
                  <a:gd name="connsiteX8" fmla="*/ 168685 w 202029"/>
                  <a:gd name="connsiteY8" fmla="*/ 205065 h 226298"/>
                  <a:gd name="connsiteX9" fmla="*/ 102310 w 202029"/>
                  <a:gd name="connsiteY9" fmla="*/ 226299 h 226298"/>
                  <a:gd name="connsiteX10" fmla="*/ 55832 w 202029"/>
                  <a:gd name="connsiteY10" fmla="*/ 217241 h 226298"/>
                  <a:gd name="connsiteX11" fmla="*/ 24204 w 202029"/>
                  <a:gd name="connsiteY11" fmla="*/ 192592 h 226298"/>
                  <a:gd name="connsiteX12" fmla="*/ 5940 w 202029"/>
                  <a:gd name="connsiteY12" fmla="*/ 156509 h 226298"/>
                  <a:gd name="connsiteX13" fmla="*/ 0 w 202029"/>
                  <a:gd name="connsiteY13" fmla="*/ 113149 h 226298"/>
                  <a:gd name="connsiteX14" fmla="*/ 5940 w 202029"/>
                  <a:gd name="connsiteY14" fmla="*/ 71721 h 226298"/>
                  <a:gd name="connsiteX15" fmla="*/ 24204 w 202029"/>
                  <a:gd name="connsiteY15" fmla="*/ 35489 h 226298"/>
                  <a:gd name="connsiteX16" fmla="*/ 55832 w 202029"/>
                  <a:gd name="connsiteY16" fmla="*/ 9800 h 226298"/>
                  <a:gd name="connsiteX17" fmla="*/ 102310 w 202029"/>
                  <a:gd name="connsiteY17" fmla="*/ 0 h 226298"/>
                  <a:gd name="connsiteX18" fmla="*/ 148787 w 202029"/>
                  <a:gd name="connsiteY18" fmla="*/ 10394 h 226298"/>
                  <a:gd name="connsiteX19" fmla="*/ 180119 w 202029"/>
                  <a:gd name="connsiteY19" fmla="*/ 37568 h 226298"/>
                  <a:gd name="connsiteX20" fmla="*/ 197492 w 202029"/>
                  <a:gd name="connsiteY20" fmla="*/ 76175 h 226298"/>
                  <a:gd name="connsiteX21" fmla="*/ 201947 w 202029"/>
                  <a:gd name="connsiteY21" fmla="*/ 120425 h 226298"/>
                  <a:gd name="connsiteX22" fmla="*/ 27619 w 202029"/>
                  <a:gd name="connsiteY22" fmla="*/ 120425 h 226298"/>
                  <a:gd name="connsiteX23" fmla="*/ 174030 w 202029"/>
                  <a:gd name="connsiteY23" fmla="*/ 97558 h 226298"/>
                  <a:gd name="connsiteX24" fmla="*/ 168536 w 202029"/>
                  <a:gd name="connsiteY24" fmla="*/ 69790 h 226298"/>
                  <a:gd name="connsiteX25" fmla="*/ 154281 w 202029"/>
                  <a:gd name="connsiteY25" fmla="*/ 46180 h 226298"/>
                  <a:gd name="connsiteX26" fmla="*/ 131859 w 202029"/>
                  <a:gd name="connsiteY26" fmla="*/ 29698 h 226298"/>
                  <a:gd name="connsiteX27" fmla="*/ 102013 w 202029"/>
                  <a:gd name="connsiteY27" fmla="*/ 23461 h 226298"/>
                  <a:gd name="connsiteX28" fmla="*/ 71721 w 202029"/>
                  <a:gd name="connsiteY28" fmla="*/ 29698 h 226298"/>
                  <a:gd name="connsiteX29" fmla="*/ 49299 w 202029"/>
                  <a:gd name="connsiteY29" fmla="*/ 46180 h 226298"/>
                  <a:gd name="connsiteX30" fmla="*/ 34598 w 202029"/>
                  <a:gd name="connsiteY30" fmla="*/ 69939 h 226298"/>
                  <a:gd name="connsiteX31" fmla="*/ 27322 w 202029"/>
                  <a:gd name="connsiteY31" fmla="*/ 97558 h 226298"/>
                  <a:gd name="connsiteX32" fmla="*/ 174030 w 202029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2029" h="226298">
                    <a:moveTo>
                      <a:pt x="27619" y="120722"/>
                    </a:moveTo>
                    <a:cubicBezTo>
                      <a:pt x="27619" y="130226"/>
                      <a:pt x="29104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5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8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9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947" y="120425"/>
                    </a:cubicBezTo>
                    <a:lnTo>
                      <a:pt x="27619" y="120425"/>
                    </a:lnTo>
                    <a:close/>
                    <a:moveTo>
                      <a:pt x="174030" y="97558"/>
                    </a:moveTo>
                    <a:cubicBezTo>
                      <a:pt x="173733" y="87906"/>
                      <a:pt x="171952" y="78700"/>
                      <a:pt x="168536" y="69790"/>
                    </a:cubicBezTo>
                    <a:cubicBezTo>
                      <a:pt x="165121" y="60881"/>
                      <a:pt x="160369" y="53011"/>
                      <a:pt x="154281" y="46180"/>
                    </a:cubicBezTo>
                    <a:cubicBezTo>
                      <a:pt x="148193" y="39350"/>
                      <a:pt x="140620" y="33856"/>
                      <a:pt x="131859" y="29698"/>
                    </a:cubicBezTo>
                    <a:cubicBezTo>
                      <a:pt x="123098" y="25540"/>
                      <a:pt x="113150" y="23461"/>
                      <a:pt x="102013" y="23461"/>
                    </a:cubicBezTo>
                    <a:cubicBezTo>
                      <a:pt x="90579" y="23461"/>
                      <a:pt x="80482" y="25540"/>
                      <a:pt x="71721" y="29698"/>
                    </a:cubicBezTo>
                    <a:cubicBezTo>
                      <a:pt x="62960" y="33856"/>
                      <a:pt x="55535" y="39350"/>
                      <a:pt x="49299" y="46180"/>
                    </a:cubicBezTo>
                    <a:cubicBezTo>
                      <a:pt x="43211" y="53011"/>
                      <a:pt x="38310" y="60881"/>
                      <a:pt x="34598" y="69939"/>
                    </a:cubicBezTo>
                    <a:cubicBezTo>
                      <a:pt x="30886" y="78997"/>
                      <a:pt x="28510" y="88055"/>
                      <a:pt x="27322" y="97558"/>
                    </a:cubicBezTo>
                    <a:lnTo>
                      <a:pt x="174030" y="97558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2A86D354-FD1A-4CB8-AC8C-9F68CBFC7CCD}"/>
                  </a:ext>
                </a:extLst>
              </p:cNvPr>
              <p:cNvSpPr/>
              <p:nvPr/>
            </p:nvSpPr>
            <p:spPr>
              <a:xfrm>
                <a:off x="2253560" y="1746104"/>
                <a:ext cx="209371" cy="239217"/>
              </a:xfrm>
              <a:custGeom>
                <a:avLst/>
                <a:gdLst>
                  <a:gd name="connsiteX0" fmla="*/ 9355 w 209371"/>
                  <a:gd name="connsiteY0" fmla="*/ 75878 h 239217"/>
                  <a:gd name="connsiteX1" fmla="*/ 36826 w 209371"/>
                  <a:gd name="connsiteY1" fmla="*/ 17967 h 239217"/>
                  <a:gd name="connsiteX2" fmla="*/ 101122 w 209371"/>
                  <a:gd name="connsiteY2" fmla="*/ 0 h 239217"/>
                  <a:gd name="connsiteX3" fmla="*/ 130968 w 209371"/>
                  <a:gd name="connsiteY3" fmla="*/ 2821 h 239217"/>
                  <a:gd name="connsiteX4" fmla="*/ 157697 w 209371"/>
                  <a:gd name="connsiteY4" fmla="*/ 13513 h 239217"/>
                  <a:gd name="connsiteX5" fmla="*/ 177000 w 209371"/>
                  <a:gd name="connsiteY5" fmla="*/ 35638 h 239217"/>
                  <a:gd name="connsiteX6" fmla="*/ 184425 w 209371"/>
                  <a:gd name="connsiteY6" fmla="*/ 72760 h 239217"/>
                  <a:gd name="connsiteX7" fmla="*/ 184425 w 209371"/>
                  <a:gd name="connsiteY7" fmla="*/ 192889 h 239217"/>
                  <a:gd name="connsiteX8" fmla="*/ 200610 w 209371"/>
                  <a:gd name="connsiteY8" fmla="*/ 209520 h 239217"/>
                  <a:gd name="connsiteX9" fmla="*/ 209371 w 209371"/>
                  <a:gd name="connsiteY9" fmla="*/ 207738 h 239217"/>
                  <a:gd name="connsiteX10" fmla="*/ 209371 w 209371"/>
                  <a:gd name="connsiteY10" fmla="*/ 230902 h 239217"/>
                  <a:gd name="connsiteX11" fmla="*/ 200759 w 209371"/>
                  <a:gd name="connsiteY11" fmla="*/ 232239 h 239217"/>
                  <a:gd name="connsiteX12" fmla="*/ 191404 w 209371"/>
                  <a:gd name="connsiteY12" fmla="*/ 232684 h 239217"/>
                  <a:gd name="connsiteX13" fmla="*/ 174476 w 209371"/>
                  <a:gd name="connsiteY13" fmla="*/ 229863 h 239217"/>
                  <a:gd name="connsiteX14" fmla="*/ 164676 w 209371"/>
                  <a:gd name="connsiteY14" fmla="*/ 221696 h 239217"/>
                  <a:gd name="connsiteX15" fmla="*/ 160072 w 209371"/>
                  <a:gd name="connsiteY15" fmla="*/ 209223 h 239217"/>
                  <a:gd name="connsiteX16" fmla="*/ 159033 w 209371"/>
                  <a:gd name="connsiteY16" fmla="*/ 193186 h 239217"/>
                  <a:gd name="connsiteX17" fmla="*/ 158142 w 209371"/>
                  <a:gd name="connsiteY17" fmla="*/ 193186 h 239217"/>
                  <a:gd name="connsiteX18" fmla="*/ 142996 w 209371"/>
                  <a:gd name="connsiteY18" fmla="*/ 212638 h 239217"/>
                  <a:gd name="connsiteX19" fmla="*/ 125920 w 209371"/>
                  <a:gd name="connsiteY19" fmla="*/ 227041 h 239217"/>
                  <a:gd name="connsiteX20" fmla="*/ 104240 w 209371"/>
                  <a:gd name="connsiteY20" fmla="*/ 236099 h 239217"/>
                  <a:gd name="connsiteX21" fmla="*/ 75730 w 209371"/>
                  <a:gd name="connsiteY21" fmla="*/ 239218 h 239217"/>
                  <a:gd name="connsiteX22" fmla="*/ 46180 w 209371"/>
                  <a:gd name="connsiteY22" fmla="*/ 235208 h 239217"/>
                  <a:gd name="connsiteX23" fmla="*/ 22125 w 209371"/>
                  <a:gd name="connsiteY23" fmla="*/ 223181 h 239217"/>
                  <a:gd name="connsiteX24" fmla="*/ 5940 w 209371"/>
                  <a:gd name="connsiteY24" fmla="*/ 202541 h 239217"/>
                  <a:gd name="connsiteX25" fmla="*/ 0 w 209371"/>
                  <a:gd name="connsiteY25" fmla="*/ 172991 h 239217"/>
                  <a:gd name="connsiteX26" fmla="*/ 10543 w 209371"/>
                  <a:gd name="connsiteY26" fmla="*/ 135868 h 239217"/>
                  <a:gd name="connsiteX27" fmla="*/ 38459 w 209371"/>
                  <a:gd name="connsiteY27" fmla="*/ 115525 h 239217"/>
                  <a:gd name="connsiteX28" fmla="*/ 77512 w 209371"/>
                  <a:gd name="connsiteY28" fmla="*/ 105725 h 239217"/>
                  <a:gd name="connsiteX29" fmla="*/ 121613 w 209371"/>
                  <a:gd name="connsiteY29" fmla="*/ 100231 h 239217"/>
                  <a:gd name="connsiteX30" fmla="*/ 136759 w 209371"/>
                  <a:gd name="connsiteY30" fmla="*/ 97855 h 239217"/>
                  <a:gd name="connsiteX31" fmla="*/ 147896 w 209371"/>
                  <a:gd name="connsiteY31" fmla="*/ 93252 h 239217"/>
                  <a:gd name="connsiteX32" fmla="*/ 154727 w 209371"/>
                  <a:gd name="connsiteY32" fmla="*/ 84491 h 239217"/>
                  <a:gd name="connsiteX33" fmla="*/ 157103 w 209371"/>
                  <a:gd name="connsiteY33" fmla="*/ 69642 h 239217"/>
                  <a:gd name="connsiteX34" fmla="*/ 152499 w 209371"/>
                  <a:gd name="connsiteY34" fmla="*/ 46626 h 239217"/>
                  <a:gd name="connsiteX35" fmla="*/ 139729 w 209371"/>
                  <a:gd name="connsiteY35" fmla="*/ 32371 h 239217"/>
                  <a:gd name="connsiteX36" fmla="*/ 120871 w 209371"/>
                  <a:gd name="connsiteY36" fmla="*/ 25095 h 239217"/>
                  <a:gd name="connsiteX37" fmla="*/ 97855 w 209371"/>
                  <a:gd name="connsiteY37" fmla="*/ 23164 h 239217"/>
                  <a:gd name="connsiteX38" fmla="*/ 55090 w 209371"/>
                  <a:gd name="connsiteY38" fmla="*/ 35638 h 239217"/>
                  <a:gd name="connsiteX39" fmla="*/ 37271 w 209371"/>
                  <a:gd name="connsiteY39" fmla="*/ 75730 h 239217"/>
                  <a:gd name="connsiteX40" fmla="*/ 9355 w 209371"/>
                  <a:gd name="connsiteY40" fmla="*/ 75730 h 239217"/>
                  <a:gd name="connsiteX41" fmla="*/ 156657 w 209371"/>
                  <a:gd name="connsiteY41" fmla="*/ 109140 h 239217"/>
                  <a:gd name="connsiteX42" fmla="*/ 155766 w 209371"/>
                  <a:gd name="connsiteY42" fmla="*/ 109140 h 239217"/>
                  <a:gd name="connsiteX43" fmla="*/ 145669 w 209371"/>
                  <a:gd name="connsiteY43" fmla="*/ 116119 h 239217"/>
                  <a:gd name="connsiteX44" fmla="*/ 132453 w 209371"/>
                  <a:gd name="connsiteY44" fmla="*/ 119238 h 239217"/>
                  <a:gd name="connsiteX45" fmla="*/ 96222 w 209371"/>
                  <a:gd name="connsiteY45" fmla="*/ 124732 h 239217"/>
                  <a:gd name="connsiteX46" fmla="*/ 62217 w 209371"/>
                  <a:gd name="connsiteY46" fmla="*/ 132008 h 239217"/>
                  <a:gd name="connsiteX47" fmla="*/ 36974 w 209371"/>
                  <a:gd name="connsiteY47" fmla="*/ 145817 h 239217"/>
                  <a:gd name="connsiteX48" fmla="*/ 27174 w 209371"/>
                  <a:gd name="connsiteY48" fmla="*/ 171506 h 239217"/>
                  <a:gd name="connsiteX49" fmla="*/ 31331 w 209371"/>
                  <a:gd name="connsiteY49" fmla="*/ 190067 h 239217"/>
                  <a:gd name="connsiteX50" fmla="*/ 42468 w 209371"/>
                  <a:gd name="connsiteY50" fmla="*/ 204174 h 239217"/>
                  <a:gd name="connsiteX51" fmla="*/ 58654 w 209371"/>
                  <a:gd name="connsiteY51" fmla="*/ 213083 h 239217"/>
                  <a:gd name="connsiteX52" fmla="*/ 77512 w 209371"/>
                  <a:gd name="connsiteY52" fmla="*/ 216202 h 239217"/>
                  <a:gd name="connsiteX53" fmla="*/ 107804 w 209371"/>
                  <a:gd name="connsiteY53" fmla="*/ 211301 h 239217"/>
                  <a:gd name="connsiteX54" fmla="*/ 133047 w 209371"/>
                  <a:gd name="connsiteY54" fmla="*/ 197343 h 239217"/>
                  <a:gd name="connsiteX55" fmla="*/ 150124 w 209371"/>
                  <a:gd name="connsiteY55" fmla="*/ 174921 h 239217"/>
                  <a:gd name="connsiteX56" fmla="*/ 156509 w 209371"/>
                  <a:gd name="connsiteY56" fmla="*/ 145075 h 239217"/>
                  <a:gd name="connsiteX57" fmla="*/ 156509 w 209371"/>
                  <a:gd name="connsiteY57" fmla="*/ 109140 h 239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09371" h="239217">
                    <a:moveTo>
                      <a:pt x="9355" y="75878"/>
                    </a:moveTo>
                    <a:cubicBezTo>
                      <a:pt x="10840" y="49299"/>
                      <a:pt x="19898" y="29995"/>
                      <a:pt x="36826" y="17967"/>
                    </a:cubicBezTo>
                    <a:cubicBezTo>
                      <a:pt x="53605" y="5940"/>
                      <a:pt x="74988" y="0"/>
                      <a:pt x="101122" y="0"/>
                    </a:cubicBezTo>
                    <a:cubicBezTo>
                      <a:pt x="111071" y="0"/>
                      <a:pt x="121020" y="891"/>
                      <a:pt x="130968" y="2821"/>
                    </a:cubicBezTo>
                    <a:cubicBezTo>
                      <a:pt x="140917" y="4752"/>
                      <a:pt x="149827" y="8315"/>
                      <a:pt x="157697" y="13513"/>
                    </a:cubicBezTo>
                    <a:cubicBezTo>
                      <a:pt x="165567" y="18710"/>
                      <a:pt x="171952" y="26134"/>
                      <a:pt x="177000" y="35638"/>
                    </a:cubicBezTo>
                    <a:cubicBezTo>
                      <a:pt x="181900" y="45141"/>
                      <a:pt x="184425" y="57466"/>
                      <a:pt x="184425" y="72760"/>
                    </a:cubicBezTo>
                    <a:lnTo>
                      <a:pt x="184425" y="192889"/>
                    </a:lnTo>
                    <a:cubicBezTo>
                      <a:pt x="184425" y="204025"/>
                      <a:pt x="189770" y="209520"/>
                      <a:pt x="200610" y="209520"/>
                    </a:cubicBezTo>
                    <a:cubicBezTo>
                      <a:pt x="203580" y="209520"/>
                      <a:pt x="206401" y="208926"/>
                      <a:pt x="209371" y="207738"/>
                    </a:cubicBezTo>
                    <a:lnTo>
                      <a:pt x="209371" y="230902"/>
                    </a:lnTo>
                    <a:cubicBezTo>
                      <a:pt x="206104" y="231496"/>
                      <a:pt x="203283" y="231942"/>
                      <a:pt x="200759" y="232239"/>
                    </a:cubicBezTo>
                    <a:cubicBezTo>
                      <a:pt x="198234" y="232536"/>
                      <a:pt x="195116" y="232684"/>
                      <a:pt x="191404" y="232684"/>
                    </a:cubicBezTo>
                    <a:cubicBezTo>
                      <a:pt x="184425" y="232684"/>
                      <a:pt x="178782" y="231793"/>
                      <a:pt x="174476" y="229863"/>
                    </a:cubicBezTo>
                    <a:cubicBezTo>
                      <a:pt x="170170" y="227932"/>
                      <a:pt x="166903" y="225260"/>
                      <a:pt x="164676" y="221696"/>
                    </a:cubicBezTo>
                    <a:cubicBezTo>
                      <a:pt x="162300" y="218132"/>
                      <a:pt x="160815" y="213974"/>
                      <a:pt x="160072" y="209223"/>
                    </a:cubicBezTo>
                    <a:cubicBezTo>
                      <a:pt x="159330" y="204471"/>
                      <a:pt x="159033" y="199125"/>
                      <a:pt x="159033" y="193186"/>
                    </a:cubicBezTo>
                    <a:lnTo>
                      <a:pt x="158142" y="193186"/>
                    </a:lnTo>
                    <a:cubicBezTo>
                      <a:pt x="153242" y="200462"/>
                      <a:pt x="148193" y="206995"/>
                      <a:pt x="142996" y="212638"/>
                    </a:cubicBezTo>
                    <a:cubicBezTo>
                      <a:pt x="137947" y="218280"/>
                      <a:pt x="132156" y="223181"/>
                      <a:pt x="125920" y="227041"/>
                    </a:cubicBezTo>
                    <a:cubicBezTo>
                      <a:pt x="119683" y="230902"/>
                      <a:pt x="112407" y="234020"/>
                      <a:pt x="104240" y="236099"/>
                    </a:cubicBezTo>
                    <a:cubicBezTo>
                      <a:pt x="96073" y="238178"/>
                      <a:pt x="86570" y="239218"/>
                      <a:pt x="75730" y="239218"/>
                    </a:cubicBezTo>
                    <a:cubicBezTo>
                      <a:pt x="65187" y="239218"/>
                      <a:pt x="55387" y="237881"/>
                      <a:pt x="46180" y="235208"/>
                    </a:cubicBezTo>
                    <a:cubicBezTo>
                      <a:pt x="36974" y="232536"/>
                      <a:pt x="28956" y="228526"/>
                      <a:pt x="22125" y="223181"/>
                    </a:cubicBezTo>
                    <a:cubicBezTo>
                      <a:pt x="15294" y="217835"/>
                      <a:pt x="9800" y="210856"/>
                      <a:pt x="5940" y="202541"/>
                    </a:cubicBezTo>
                    <a:cubicBezTo>
                      <a:pt x="1930" y="194225"/>
                      <a:pt x="0" y="184276"/>
                      <a:pt x="0" y="172991"/>
                    </a:cubicBezTo>
                    <a:cubicBezTo>
                      <a:pt x="0" y="157251"/>
                      <a:pt x="3564" y="144926"/>
                      <a:pt x="10543" y="135868"/>
                    </a:cubicBezTo>
                    <a:cubicBezTo>
                      <a:pt x="17522" y="126959"/>
                      <a:pt x="26877" y="120129"/>
                      <a:pt x="38459" y="115525"/>
                    </a:cubicBezTo>
                    <a:cubicBezTo>
                      <a:pt x="50041" y="110922"/>
                      <a:pt x="62960" y="107507"/>
                      <a:pt x="77512" y="105725"/>
                    </a:cubicBezTo>
                    <a:cubicBezTo>
                      <a:pt x="91915" y="103795"/>
                      <a:pt x="106616" y="102013"/>
                      <a:pt x="121613" y="100231"/>
                    </a:cubicBezTo>
                    <a:cubicBezTo>
                      <a:pt x="127108" y="99637"/>
                      <a:pt x="132156" y="98894"/>
                      <a:pt x="136759" y="97855"/>
                    </a:cubicBezTo>
                    <a:cubicBezTo>
                      <a:pt x="141214" y="96816"/>
                      <a:pt x="145075" y="95331"/>
                      <a:pt x="147896" y="93252"/>
                    </a:cubicBezTo>
                    <a:cubicBezTo>
                      <a:pt x="150866" y="91173"/>
                      <a:pt x="153093" y="88352"/>
                      <a:pt x="154727" y="84491"/>
                    </a:cubicBezTo>
                    <a:cubicBezTo>
                      <a:pt x="156360" y="80779"/>
                      <a:pt x="157103" y="75730"/>
                      <a:pt x="157103" y="69642"/>
                    </a:cubicBezTo>
                    <a:cubicBezTo>
                      <a:pt x="157103" y="60287"/>
                      <a:pt x="155618" y="52566"/>
                      <a:pt x="152499" y="46626"/>
                    </a:cubicBezTo>
                    <a:cubicBezTo>
                      <a:pt x="149381" y="40686"/>
                      <a:pt x="145223" y="35935"/>
                      <a:pt x="139729" y="32371"/>
                    </a:cubicBezTo>
                    <a:cubicBezTo>
                      <a:pt x="134384" y="28807"/>
                      <a:pt x="127999" y="26431"/>
                      <a:pt x="120871" y="25095"/>
                    </a:cubicBezTo>
                    <a:cubicBezTo>
                      <a:pt x="113744" y="23758"/>
                      <a:pt x="106022" y="23164"/>
                      <a:pt x="97855" y="23164"/>
                    </a:cubicBezTo>
                    <a:cubicBezTo>
                      <a:pt x="80630" y="23164"/>
                      <a:pt x="66375" y="27322"/>
                      <a:pt x="55090" y="35638"/>
                    </a:cubicBezTo>
                    <a:cubicBezTo>
                      <a:pt x="43805" y="43953"/>
                      <a:pt x="37865" y="57317"/>
                      <a:pt x="37271" y="75730"/>
                    </a:cubicBezTo>
                    <a:lnTo>
                      <a:pt x="9355" y="75730"/>
                    </a:lnTo>
                    <a:close/>
                    <a:moveTo>
                      <a:pt x="156657" y="109140"/>
                    </a:moveTo>
                    <a:lnTo>
                      <a:pt x="155766" y="109140"/>
                    </a:lnTo>
                    <a:cubicBezTo>
                      <a:pt x="153984" y="112407"/>
                      <a:pt x="150718" y="114634"/>
                      <a:pt x="145669" y="116119"/>
                    </a:cubicBezTo>
                    <a:cubicBezTo>
                      <a:pt x="140769" y="117604"/>
                      <a:pt x="136314" y="118644"/>
                      <a:pt x="132453" y="119238"/>
                    </a:cubicBezTo>
                    <a:cubicBezTo>
                      <a:pt x="120722" y="121316"/>
                      <a:pt x="108695" y="123098"/>
                      <a:pt x="96222" y="124732"/>
                    </a:cubicBezTo>
                    <a:cubicBezTo>
                      <a:pt x="83748" y="126365"/>
                      <a:pt x="72463" y="128741"/>
                      <a:pt x="62217" y="132008"/>
                    </a:cubicBezTo>
                    <a:cubicBezTo>
                      <a:pt x="51972" y="135275"/>
                      <a:pt x="43656" y="139878"/>
                      <a:pt x="36974" y="145817"/>
                    </a:cubicBezTo>
                    <a:cubicBezTo>
                      <a:pt x="30441" y="151757"/>
                      <a:pt x="27174" y="160369"/>
                      <a:pt x="27174" y="171506"/>
                    </a:cubicBezTo>
                    <a:cubicBezTo>
                      <a:pt x="27174" y="178485"/>
                      <a:pt x="28510" y="184722"/>
                      <a:pt x="31331" y="190067"/>
                    </a:cubicBezTo>
                    <a:cubicBezTo>
                      <a:pt x="34153" y="195413"/>
                      <a:pt x="37865" y="200165"/>
                      <a:pt x="42468" y="204174"/>
                    </a:cubicBezTo>
                    <a:cubicBezTo>
                      <a:pt x="47071" y="208183"/>
                      <a:pt x="52566" y="211153"/>
                      <a:pt x="58654" y="213083"/>
                    </a:cubicBezTo>
                    <a:cubicBezTo>
                      <a:pt x="64742" y="215162"/>
                      <a:pt x="71127" y="216202"/>
                      <a:pt x="77512" y="216202"/>
                    </a:cubicBezTo>
                    <a:cubicBezTo>
                      <a:pt x="88055" y="216202"/>
                      <a:pt x="98152" y="214568"/>
                      <a:pt x="107804" y="211301"/>
                    </a:cubicBezTo>
                    <a:cubicBezTo>
                      <a:pt x="117456" y="208035"/>
                      <a:pt x="125920" y="203431"/>
                      <a:pt x="133047" y="197343"/>
                    </a:cubicBezTo>
                    <a:cubicBezTo>
                      <a:pt x="140175" y="191255"/>
                      <a:pt x="145966" y="183682"/>
                      <a:pt x="150124" y="174921"/>
                    </a:cubicBezTo>
                    <a:cubicBezTo>
                      <a:pt x="154430" y="166160"/>
                      <a:pt x="156509" y="156212"/>
                      <a:pt x="156509" y="145075"/>
                    </a:cubicBezTo>
                    <a:lnTo>
                      <a:pt x="156509" y="10914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94162736-051E-4703-8091-FCEA88C93A97}"/>
                  </a:ext>
                </a:extLst>
              </p:cNvPr>
              <p:cNvSpPr/>
              <p:nvPr/>
            </p:nvSpPr>
            <p:spPr>
              <a:xfrm>
                <a:off x="2483571" y="1665771"/>
                <a:ext cx="208628" cy="313165"/>
              </a:xfrm>
              <a:custGeom>
                <a:avLst/>
                <a:gdLst>
                  <a:gd name="connsiteX0" fmla="*/ 208629 w 208628"/>
                  <a:gd name="connsiteY0" fmla="*/ 313166 h 313165"/>
                  <a:gd name="connsiteX1" fmla="*/ 183237 w 208628"/>
                  <a:gd name="connsiteY1" fmla="*/ 313166 h 313165"/>
                  <a:gd name="connsiteX2" fmla="*/ 183237 w 208628"/>
                  <a:gd name="connsiteY2" fmla="*/ 270252 h 313165"/>
                  <a:gd name="connsiteX3" fmla="*/ 182346 w 208628"/>
                  <a:gd name="connsiteY3" fmla="*/ 270252 h 313165"/>
                  <a:gd name="connsiteX4" fmla="*/ 169427 w 208628"/>
                  <a:gd name="connsiteY4" fmla="*/ 290447 h 313165"/>
                  <a:gd name="connsiteX5" fmla="*/ 149975 w 208628"/>
                  <a:gd name="connsiteY5" fmla="*/ 306187 h 313165"/>
                  <a:gd name="connsiteX6" fmla="*/ 126514 w 208628"/>
                  <a:gd name="connsiteY6" fmla="*/ 313017 h 313165"/>
                  <a:gd name="connsiteX7" fmla="*/ 101716 w 208628"/>
                  <a:gd name="connsiteY7" fmla="*/ 313166 h 313165"/>
                  <a:gd name="connsiteX8" fmla="*/ 56723 w 208628"/>
                  <a:gd name="connsiteY8" fmla="*/ 304108 h 313165"/>
                  <a:gd name="connsiteX9" fmla="*/ 24946 w 208628"/>
                  <a:gd name="connsiteY9" fmla="*/ 279458 h 313165"/>
                  <a:gd name="connsiteX10" fmla="*/ 6088 w 208628"/>
                  <a:gd name="connsiteY10" fmla="*/ 243375 h 313165"/>
                  <a:gd name="connsiteX11" fmla="*/ 0 w 208628"/>
                  <a:gd name="connsiteY11" fmla="*/ 200016 h 313165"/>
                  <a:gd name="connsiteX12" fmla="*/ 6088 w 208628"/>
                  <a:gd name="connsiteY12" fmla="*/ 156657 h 313165"/>
                  <a:gd name="connsiteX13" fmla="*/ 24946 w 208628"/>
                  <a:gd name="connsiteY13" fmla="*/ 120574 h 313165"/>
                  <a:gd name="connsiteX14" fmla="*/ 56723 w 208628"/>
                  <a:gd name="connsiteY14" fmla="*/ 95925 h 313165"/>
                  <a:gd name="connsiteX15" fmla="*/ 101716 w 208628"/>
                  <a:gd name="connsiteY15" fmla="*/ 86867 h 313165"/>
                  <a:gd name="connsiteX16" fmla="*/ 126514 w 208628"/>
                  <a:gd name="connsiteY16" fmla="*/ 90133 h 313165"/>
                  <a:gd name="connsiteX17" fmla="*/ 149084 w 208628"/>
                  <a:gd name="connsiteY17" fmla="*/ 99488 h 313165"/>
                  <a:gd name="connsiteX18" fmla="*/ 167645 w 208628"/>
                  <a:gd name="connsiteY18" fmla="*/ 114783 h 313165"/>
                  <a:gd name="connsiteX19" fmla="*/ 180119 w 208628"/>
                  <a:gd name="connsiteY19" fmla="*/ 136314 h 313165"/>
                  <a:gd name="connsiteX20" fmla="*/ 181010 w 208628"/>
                  <a:gd name="connsiteY20" fmla="*/ 136314 h 313165"/>
                  <a:gd name="connsiteX21" fmla="*/ 181010 w 208628"/>
                  <a:gd name="connsiteY21" fmla="*/ 0 h 313165"/>
                  <a:gd name="connsiteX22" fmla="*/ 208629 w 208628"/>
                  <a:gd name="connsiteY22" fmla="*/ 0 h 313165"/>
                  <a:gd name="connsiteX23" fmla="*/ 208629 w 208628"/>
                  <a:gd name="connsiteY23" fmla="*/ 313166 h 313165"/>
                  <a:gd name="connsiteX24" fmla="*/ 31628 w 208628"/>
                  <a:gd name="connsiteY24" fmla="*/ 232536 h 313165"/>
                  <a:gd name="connsiteX25" fmla="*/ 44844 w 208628"/>
                  <a:gd name="connsiteY25" fmla="*/ 261343 h 313165"/>
                  <a:gd name="connsiteX26" fmla="*/ 67860 w 208628"/>
                  <a:gd name="connsiteY26" fmla="*/ 281983 h 313165"/>
                  <a:gd name="connsiteX27" fmla="*/ 101567 w 208628"/>
                  <a:gd name="connsiteY27" fmla="*/ 290001 h 313165"/>
                  <a:gd name="connsiteX28" fmla="*/ 138690 w 208628"/>
                  <a:gd name="connsiteY28" fmla="*/ 281983 h 313165"/>
                  <a:gd name="connsiteX29" fmla="*/ 163191 w 208628"/>
                  <a:gd name="connsiteY29" fmla="*/ 261343 h 313165"/>
                  <a:gd name="connsiteX30" fmla="*/ 176852 w 208628"/>
                  <a:gd name="connsiteY30" fmla="*/ 232536 h 313165"/>
                  <a:gd name="connsiteX31" fmla="*/ 181010 w 208628"/>
                  <a:gd name="connsiteY31" fmla="*/ 200016 h 313165"/>
                  <a:gd name="connsiteX32" fmla="*/ 176852 w 208628"/>
                  <a:gd name="connsiteY32" fmla="*/ 167497 h 313165"/>
                  <a:gd name="connsiteX33" fmla="*/ 163191 w 208628"/>
                  <a:gd name="connsiteY33" fmla="*/ 138690 h 313165"/>
                  <a:gd name="connsiteX34" fmla="*/ 138690 w 208628"/>
                  <a:gd name="connsiteY34" fmla="*/ 118050 h 313165"/>
                  <a:gd name="connsiteX35" fmla="*/ 101567 w 208628"/>
                  <a:gd name="connsiteY35" fmla="*/ 110031 h 313165"/>
                  <a:gd name="connsiteX36" fmla="*/ 67860 w 208628"/>
                  <a:gd name="connsiteY36" fmla="*/ 118050 h 313165"/>
                  <a:gd name="connsiteX37" fmla="*/ 44844 w 208628"/>
                  <a:gd name="connsiteY37" fmla="*/ 138690 h 313165"/>
                  <a:gd name="connsiteX38" fmla="*/ 31628 w 208628"/>
                  <a:gd name="connsiteY38" fmla="*/ 167497 h 313165"/>
                  <a:gd name="connsiteX39" fmla="*/ 27471 w 208628"/>
                  <a:gd name="connsiteY39" fmla="*/ 200016 h 313165"/>
                  <a:gd name="connsiteX40" fmla="*/ 31628 w 208628"/>
                  <a:gd name="connsiteY40" fmla="*/ 232536 h 31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8628" h="313165">
                    <a:moveTo>
                      <a:pt x="208629" y="313166"/>
                    </a:moveTo>
                    <a:lnTo>
                      <a:pt x="183237" y="313166"/>
                    </a:lnTo>
                    <a:lnTo>
                      <a:pt x="183237" y="270252"/>
                    </a:lnTo>
                    <a:lnTo>
                      <a:pt x="182346" y="270252"/>
                    </a:lnTo>
                    <a:cubicBezTo>
                      <a:pt x="179376" y="277528"/>
                      <a:pt x="175070" y="284210"/>
                      <a:pt x="169427" y="290447"/>
                    </a:cubicBezTo>
                    <a:cubicBezTo>
                      <a:pt x="163785" y="296535"/>
                      <a:pt x="157251" y="301880"/>
                      <a:pt x="149975" y="306187"/>
                    </a:cubicBezTo>
                    <a:cubicBezTo>
                      <a:pt x="142699" y="310641"/>
                      <a:pt x="134829" y="312869"/>
                      <a:pt x="126514" y="313017"/>
                    </a:cubicBezTo>
                    <a:cubicBezTo>
                      <a:pt x="118198" y="313166"/>
                      <a:pt x="109883" y="313166"/>
                      <a:pt x="101716" y="313166"/>
                    </a:cubicBezTo>
                    <a:cubicBezTo>
                      <a:pt x="84491" y="313166"/>
                      <a:pt x="69493" y="310196"/>
                      <a:pt x="56723" y="304108"/>
                    </a:cubicBezTo>
                    <a:cubicBezTo>
                      <a:pt x="43953" y="298020"/>
                      <a:pt x="33410" y="289853"/>
                      <a:pt x="24946" y="279458"/>
                    </a:cubicBezTo>
                    <a:cubicBezTo>
                      <a:pt x="16482" y="269064"/>
                      <a:pt x="10246" y="257036"/>
                      <a:pt x="6088" y="243375"/>
                    </a:cubicBezTo>
                    <a:cubicBezTo>
                      <a:pt x="1930" y="229714"/>
                      <a:pt x="0" y="215311"/>
                      <a:pt x="0" y="200016"/>
                    </a:cubicBezTo>
                    <a:cubicBezTo>
                      <a:pt x="0" y="184870"/>
                      <a:pt x="2079" y="170318"/>
                      <a:pt x="6088" y="156657"/>
                    </a:cubicBezTo>
                    <a:cubicBezTo>
                      <a:pt x="10246" y="142996"/>
                      <a:pt x="16482" y="130968"/>
                      <a:pt x="24946" y="120574"/>
                    </a:cubicBezTo>
                    <a:cubicBezTo>
                      <a:pt x="33410" y="110180"/>
                      <a:pt x="43953" y="102013"/>
                      <a:pt x="56723" y="95925"/>
                    </a:cubicBezTo>
                    <a:cubicBezTo>
                      <a:pt x="69493" y="89837"/>
                      <a:pt x="84342" y="86867"/>
                      <a:pt x="101716" y="86867"/>
                    </a:cubicBezTo>
                    <a:cubicBezTo>
                      <a:pt x="110180" y="86867"/>
                      <a:pt x="118495" y="87906"/>
                      <a:pt x="126514" y="90133"/>
                    </a:cubicBezTo>
                    <a:cubicBezTo>
                      <a:pt x="134532" y="92361"/>
                      <a:pt x="142105" y="95479"/>
                      <a:pt x="149084" y="99488"/>
                    </a:cubicBezTo>
                    <a:cubicBezTo>
                      <a:pt x="156063" y="103646"/>
                      <a:pt x="162300" y="108695"/>
                      <a:pt x="167645" y="114783"/>
                    </a:cubicBezTo>
                    <a:cubicBezTo>
                      <a:pt x="172991" y="120871"/>
                      <a:pt x="177149" y="128147"/>
                      <a:pt x="180119" y="136314"/>
                    </a:cubicBezTo>
                    <a:lnTo>
                      <a:pt x="181010" y="136314"/>
                    </a:lnTo>
                    <a:lnTo>
                      <a:pt x="181010" y="0"/>
                    </a:lnTo>
                    <a:lnTo>
                      <a:pt x="208629" y="0"/>
                    </a:lnTo>
                    <a:lnTo>
                      <a:pt x="208629" y="313166"/>
                    </a:lnTo>
                    <a:close/>
                    <a:moveTo>
                      <a:pt x="31628" y="232536"/>
                    </a:moveTo>
                    <a:cubicBezTo>
                      <a:pt x="34450" y="243227"/>
                      <a:pt x="38756" y="252879"/>
                      <a:pt x="44844" y="261343"/>
                    </a:cubicBezTo>
                    <a:cubicBezTo>
                      <a:pt x="50784" y="269807"/>
                      <a:pt x="58505" y="276637"/>
                      <a:pt x="67860" y="281983"/>
                    </a:cubicBezTo>
                    <a:cubicBezTo>
                      <a:pt x="77215" y="287328"/>
                      <a:pt x="88500" y="290001"/>
                      <a:pt x="101567" y="290001"/>
                    </a:cubicBezTo>
                    <a:cubicBezTo>
                      <a:pt x="116119" y="290001"/>
                      <a:pt x="128593" y="287328"/>
                      <a:pt x="138690" y="281983"/>
                    </a:cubicBezTo>
                    <a:cubicBezTo>
                      <a:pt x="148787" y="276637"/>
                      <a:pt x="156954" y="269807"/>
                      <a:pt x="163191" y="261343"/>
                    </a:cubicBezTo>
                    <a:cubicBezTo>
                      <a:pt x="169427" y="252879"/>
                      <a:pt x="174030" y="243227"/>
                      <a:pt x="176852" y="232536"/>
                    </a:cubicBezTo>
                    <a:cubicBezTo>
                      <a:pt x="179673" y="221844"/>
                      <a:pt x="181010" y="211004"/>
                      <a:pt x="181010" y="200016"/>
                    </a:cubicBezTo>
                    <a:cubicBezTo>
                      <a:pt x="181010" y="189176"/>
                      <a:pt x="179673" y="178337"/>
                      <a:pt x="176852" y="167497"/>
                    </a:cubicBezTo>
                    <a:cubicBezTo>
                      <a:pt x="174030" y="156806"/>
                      <a:pt x="169576" y="147154"/>
                      <a:pt x="163191" y="138690"/>
                    </a:cubicBezTo>
                    <a:cubicBezTo>
                      <a:pt x="156954" y="130226"/>
                      <a:pt x="148787" y="123395"/>
                      <a:pt x="138690" y="118050"/>
                    </a:cubicBezTo>
                    <a:cubicBezTo>
                      <a:pt x="128593" y="112704"/>
                      <a:pt x="116268" y="110031"/>
                      <a:pt x="101567" y="110031"/>
                    </a:cubicBezTo>
                    <a:cubicBezTo>
                      <a:pt x="88352" y="110031"/>
                      <a:pt x="77215" y="112704"/>
                      <a:pt x="67860" y="118050"/>
                    </a:cubicBezTo>
                    <a:cubicBezTo>
                      <a:pt x="58505" y="123395"/>
                      <a:pt x="50784" y="130226"/>
                      <a:pt x="44844" y="138690"/>
                    </a:cubicBezTo>
                    <a:cubicBezTo>
                      <a:pt x="38904" y="147154"/>
                      <a:pt x="34450" y="156806"/>
                      <a:pt x="31628" y="167497"/>
                    </a:cubicBezTo>
                    <a:cubicBezTo>
                      <a:pt x="28807" y="178337"/>
                      <a:pt x="27471" y="189028"/>
                      <a:pt x="27471" y="200016"/>
                    </a:cubicBezTo>
                    <a:cubicBezTo>
                      <a:pt x="27471" y="211004"/>
                      <a:pt x="28956" y="221844"/>
                      <a:pt x="31628" y="232536"/>
                    </a:cubicBez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DA36293E-882D-47B7-BC4A-408D41E4FA69}"/>
                  </a:ext>
                </a:extLst>
              </p:cNvPr>
              <p:cNvSpPr/>
              <p:nvPr/>
            </p:nvSpPr>
            <p:spPr>
              <a:xfrm>
                <a:off x="2718483" y="1752489"/>
                <a:ext cx="202029" cy="226298"/>
              </a:xfrm>
              <a:custGeom>
                <a:avLst/>
                <a:gdLst>
                  <a:gd name="connsiteX0" fmla="*/ 27619 w 202029"/>
                  <a:gd name="connsiteY0" fmla="*/ 120722 h 226298"/>
                  <a:gd name="connsiteX1" fmla="*/ 32074 w 202029"/>
                  <a:gd name="connsiteY1" fmla="*/ 149530 h 226298"/>
                  <a:gd name="connsiteX2" fmla="*/ 45290 w 202029"/>
                  <a:gd name="connsiteY2" fmla="*/ 175961 h 226298"/>
                  <a:gd name="connsiteX3" fmla="*/ 68305 w 202029"/>
                  <a:gd name="connsiteY3" fmla="*/ 195413 h 226298"/>
                  <a:gd name="connsiteX4" fmla="*/ 102310 w 202029"/>
                  <a:gd name="connsiteY4" fmla="*/ 203134 h 226298"/>
                  <a:gd name="connsiteX5" fmla="*/ 149678 w 202029"/>
                  <a:gd name="connsiteY5" fmla="*/ 187098 h 226298"/>
                  <a:gd name="connsiteX6" fmla="*/ 173288 w 202029"/>
                  <a:gd name="connsiteY6" fmla="*/ 145223 h 226298"/>
                  <a:gd name="connsiteX7" fmla="*/ 200907 w 202029"/>
                  <a:gd name="connsiteY7" fmla="*/ 145223 h 226298"/>
                  <a:gd name="connsiteX8" fmla="*/ 168685 w 202029"/>
                  <a:gd name="connsiteY8" fmla="*/ 205065 h 226298"/>
                  <a:gd name="connsiteX9" fmla="*/ 102310 w 202029"/>
                  <a:gd name="connsiteY9" fmla="*/ 226299 h 226298"/>
                  <a:gd name="connsiteX10" fmla="*/ 55832 w 202029"/>
                  <a:gd name="connsiteY10" fmla="*/ 217241 h 226298"/>
                  <a:gd name="connsiteX11" fmla="*/ 24204 w 202029"/>
                  <a:gd name="connsiteY11" fmla="*/ 192592 h 226298"/>
                  <a:gd name="connsiteX12" fmla="*/ 5940 w 202029"/>
                  <a:gd name="connsiteY12" fmla="*/ 156509 h 226298"/>
                  <a:gd name="connsiteX13" fmla="*/ 0 w 202029"/>
                  <a:gd name="connsiteY13" fmla="*/ 113149 h 226298"/>
                  <a:gd name="connsiteX14" fmla="*/ 5940 w 202029"/>
                  <a:gd name="connsiteY14" fmla="*/ 71721 h 226298"/>
                  <a:gd name="connsiteX15" fmla="*/ 24204 w 202029"/>
                  <a:gd name="connsiteY15" fmla="*/ 35489 h 226298"/>
                  <a:gd name="connsiteX16" fmla="*/ 55832 w 202029"/>
                  <a:gd name="connsiteY16" fmla="*/ 9800 h 226298"/>
                  <a:gd name="connsiteX17" fmla="*/ 102310 w 202029"/>
                  <a:gd name="connsiteY17" fmla="*/ 0 h 226298"/>
                  <a:gd name="connsiteX18" fmla="*/ 148787 w 202029"/>
                  <a:gd name="connsiteY18" fmla="*/ 10394 h 226298"/>
                  <a:gd name="connsiteX19" fmla="*/ 180119 w 202029"/>
                  <a:gd name="connsiteY19" fmla="*/ 37568 h 226298"/>
                  <a:gd name="connsiteX20" fmla="*/ 197492 w 202029"/>
                  <a:gd name="connsiteY20" fmla="*/ 76175 h 226298"/>
                  <a:gd name="connsiteX21" fmla="*/ 201947 w 202029"/>
                  <a:gd name="connsiteY21" fmla="*/ 120425 h 226298"/>
                  <a:gd name="connsiteX22" fmla="*/ 27619 w 202029"/>
                  <a:gd name="connsiteY22" fmla="*/ 120425 h 226298"/>
                  <a:gd name="connsiteX23" fmla="*/ 174179 w 202029"/>
                  <a:gd name="connsiteY23" fmla="*/ 97558 h 226298"/>
                  <a:gd name="connsiteX24" fmla="*/ 168685 w 202029"/>
                  <a:gd name="connsiteY24" fmla="*/ 69790 h 226298"/>
                  <a:gd name="connsiteX25" fmla="*/ 154430 w 202029"/>
                  <a:gd name="connsiteY25" fmla="*/ 46180 h 226298"/>
                  <a:gd name="connsiteX26" fmla="*/ 132008 w 202029"/>
                  <a:gd name="connsiteY26" fmla="*/ 29698 h 226298"/>
                  <a:gd name="connsiteX27" fmla="*/ 102161 w 202029"/>
                  <a:gd name="connsiteY27" fmla="*/ 23461 h 226298"/>
                  <a:gd name="connsiteX28" fmla="*/ 71869 w 202029"/>
                  <a:gd name="connsiteY28" fmla="*/ 29698 h 226298"/>
                  <a:gd name="connsiteX29" fmla="*/ 49447 w 202029"/>
                  <a:gd name="connsiteY29" fmla="*/ 46180 h 226298"/>
                  <a:gd name="connsiteX30" fmla="*/ 34747 w 202029"/>
                  <a:gd name="connsiteY30" fmla="*/ 69939 h 226298"/>
                  <a:gd name="connsiteX31" fmla="*/ 27471 w 202029"/>
                  <a:gd name="connsiteY31" fmla="*/ 97558 h 226298"/>
                  <a:gd name="connsiteX32" fmla="*/ 174179 w 202029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2029" h="226298">
                    <a:moveTo>
                      <a:pt x="27619" y="120722"/>
                    </a:moveTo>
                    <a:cubicBezTo>
                      <a:pt x="27619" y="130226"/>
                      <a:pt x="29104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5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8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9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947" y="120425"/>
                    </a:cubicBezTo>
                    <a:lnTo>
                      <a:pt x="27619" y="120425"/>
                    </a:lnTo>
                    <a:close/>
                    <a:moveTo>
                      <a:pt x="174179" y="97558"/>
                    </a:moveTo>
                    <a:cubicBezTo>
                      <a:pt x="173882" y="87906"/>
                      <a:pt x="172100" y="78700"/>
                      <a:pt x="168685" y="69790"/>
                    </a:cubicBezTo>
                    <a:cubicBezTo>
                      <a:pt x="165270" y="60881"/>
                      <a:pt x="160518" y="53011"/>
                      <a:pt x="154430" y="46180"/>
                    </a:cubicBezTo>
                    <a:cubicBezTo>
                      <a:pt x="148342" y="39350"/>
                      <a:pt x="140769" y="33856"/>
                      <a:pt x="132008" y="29698"/>
                    </a:cubicBezTo>
                    <a:cubicBezTo>
                      <a:pt x="123247" y="25540"/>
                      <a:pt x="113298" y="23461"/>
                      <a:pt x="102161" y="23461"/>
                    </a:cubicBezTo>
                    <a:cubicBezTo>
                      <a:pt x="90728" y="23461"/>
                      <a:pt x="80630" y="25540"/>
                      <a:pt x="71869" y="29698"/>
                    </a:cubicBezTo>
                    <a:cubicBezTo>
                      <a:pt x="63108" y="33856"/>
                      <a:pt x="55684" y="39350"/>
                      <a:pt x="49447" y="46180"/>
                    </a:cubicBezTo>
                    <a:cubicBezTo>
                      <a:pt x="43359" y="53011"/>
                      <a:pt x="38459" y="60881"/>
                      <a:pt x="34747" y="69939"/>
                    </a:cubicBezTo>
                    <a:cubicBezTo>
                      <a:pt x="31035" y="78997"/>
                      <a:pt x="28659" y="88055"/>
                      <a:pt x="27471" y="97558"/>
                    </a:cubicBezTo>
                    <a:lnTo>
                      <a:pt x="174179" y="97558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F98A2C35-CC19-48A2-9E57-55BD74FE59ED}"/>
                  </a:ext>
                </a:extLst>
              </p:cNvPr>
              <p:cNvSpPr/>
              <p:nvPr/>
            </p:nvSpPr>
            <p:spPr>
              <a:xfrm>
                <a:off x="2957552" y="1752516"/>
                <a:ext cx="111813" cy="226420"/>
              </a:xfrm>
              <a:custGeom>
                <a:avLst/>
                <a:gdLst>
                  <a:gd name="connsiteX0" fmla="*/ 0 w 111813"/>
                  <a:gd name="connsiteY0" fmla="*/ 121 h 226420"/>
                  <a:gd name="connsiteX1" fmla="*/ 25392 w 111813"/>
                  <a:gd name="connsiteY1" fmla="*/ 121 h 226420"/>
                  <a:gd name="connsiteX2" fmla="*/ 25392 w 111813"/>
                  <a:gd name="connsiteY2" fmla="*/ 53132 h 226420"/>
                  <a:gd name="connsiteX3" fmla="*/ 26283 w 111813"/>
                  <a:gd name="connsiteY3" fmla="*/ 53132 h 226420"/>
                  <a:gd name="connsiteX4" fmla="*/ 58951 w 111813"/>
                  <a:gd name="connsiteY4" fmla="*/ 12149 h 226420"/>
                  <a:gd name="connsiteX5" fmla="*/ 111813 w 111813"/>
                  <a:gd name="connsiteY5" fmla="*/ 121 h 226420"/>
                  <a:gd name="connsiteX6" fmla="*/ 111813 w 111813"/>
                  <a:gd name="connsiteY6" fmla="*/ 27741 h 226420"/>
                  <a:gd name="connsiteX7" fmla="*/ 77661 w 111813"/>
                  <a:gd name="connsiteY7" fmla="*/ 32641 h 226420"/>
                  <a:gd name="connsiteX8" fmla="*/ 51081 w 111813"/>
                  <a:gd name="connsiteY8" fmla="*/ 49272 h 226420"/>
                  <a:gd name="connsiteX9" fmla="*/ 33707 w 111813"/>
                  <a:gd name="connsiteY9" fmla="*/ 75257 h 226420"/>
                  <a:gd name="connsiteX10" fmla="*/ 27619 w 111813"/>
                  <a:gd name="connsiteY10" fmla="*/ 107628 h 226420"/>
                  <a:gd name="connsiteX11" fmla="*/ 27619 w 111813"/>
                  <a:gd name="connsiteY11" fmla="*/ 226420 h 226420"/>
                  <a:gd name="connsiteX12" fmla="*/ 0 w 111813"/>
                  <a:gd name="connsiteY12" fmla="*/ 226420 h 226420"/>
                  <a:gd name="connsiteX13" fmla="*/ 0 w 111813"/>
                  <a:gd name="connsiteY13" fmla="*/ 121 h 226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813" h="226420">
                    <a:moveTo>
                      <a:pt x="0" y="121"/>
                    </a:moveTo>
                    <a:lnTo>
                      <a:pt x="25392" y="121"/>
                    </a:lnTo>
                    <a:lnTo>
                      <a:pt x="25392" y="53132"/>
                    </a:lnTo>
                    <a:lnTo>
                      <a:pt x="26283" y="53132"/>
                    </a:lnTo>
                    <a:cubicBezTo>
                      <a:pt x="33262" y="34720"/>
                      <a:pt x="44250" y="21059"/>
                      <a:pt x="58951" y="12149"/>
                    </a:cubicBezTo>
                    <a:cubicBezTo>
                      <a:pt x="73651" y="3240"/>
                      <a:pt x="91322" y="-769"/>
                      <a:pt x="111813" y="121"/>
                    </a:cubicBezTo>
                    <a:lnTo>
                      <a:pt x="111813" y="27741"/>
                    </a:lnTo>
                    <a:cubicBezTo>
                      <a:pt x="99192" y="27147"/>
                      <a:pt x="87906" y="28780"/>
                      <a:pt x="77661" y="32641"/>
                    </a:cubicBezTo>
                    <a:cubicBezTo>
                      <a:pt x="67415" y="36502"/>
                      <a:pt x="58654" y="42144"/>
                      <a:pt x="51081" y="49272"/>
                    </a:cubicBezTo>
                    <a:cubicBezTo>
                      <a:pt x="43656" y="56399"/>
                      <a:pt x="37865" y="65160"/>
                      <a:pt x="33707" y="75257"/>
                    </a:cubicBezTo>
                    <a:cubicBezTo>
                      <a:pt x="29550" y="85355"/>
                      <a:pt x="27619" y="96195"/>
                      <a:pt x="27619" y="107628"/>
                    </a:cubicBezTo>
                    <a:lnTo>
                      <a:pt x="27619" y="226420"/>
                    </a:lnTo>
                    <a:lnTo>
                      <a:pt x="0" y="226420"/>
                    </a:lnTo>
                    <a:lnTo>
                      <a:pt x="0" y="121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D2BE5F46-5D54-4BAD-907E-B93A377F67D1}"/>
                  </a:ext>
                </a:extLst>
              </p:cNvPr>
              <p:cNvSpPr/>
              <p:nvPr/>
            </p:nvSpPr>
            <p:spPr>
              <a:xfrm>
                <a:off x="3097875" y="1745807"/>
                <a:ext cx="183533" cy="239514"/>
              </a:xfrm>
              <a:custGeom>
                <a:avLst/>
                <a:gdLst>
                  <a:gd name="connsiteX0" fmla="*/ 148044 w 183533"/>
                  <a:gd name="connsiteY0" fmla="*/ 73057 h 239514"/>
                  <a:gd name="connsiteX1" fmla="*/ 142847 w 183533"/>
                  <a:gd name="connsiteY1" fmla="*/ 50932 h 239514"/>
                  <a:gd name="connsiteX2" fmla="*/ 129929 w 183533"/>
                  <a:gd name="connsiteY2" fmla="*/ 35341 h 239514"/>
                  <a:gd name="connsiteX3" fmla="*/ 111368 w 183533"/>
                  <a:gd name="connsiteY3" fmla="*/ 26283 h 239514"/>
                  <a:gd name="connsiteX4" fmla="*/ 88945 w 183533"/>
                  <a:gd name="connsiteY4" fmla="*/ 23461 h 239514"/>
                  <a:gd name="connsiteX5" fmla="*/ 70384 w 183533"/>
                  <a:gd name="connsiteY5" fmla="*/ 25392 h 239514"/>
                  <a:gd name="connsiteX6" fmla="*/ 53011 w 183533"/>
                  <a:gd name="connsiteY6" fmla="*/ 31925 h 239514"/>
                  <a:gd name="connsiteX7" fmla="*/ 40241 w 183533"/>
                  <a:gd name="connsiteY7" fmla="*/ 43953 h 239514"/>
                  <a:gd name="connsiteX8" fmla="*/ 35489 w 183533"/>
                  <a:gd name="connsiteY8" fmla="*/ 62366 h 239514"/>
                  <a:gd name="connsiteX9" fmla="*/ 40092 w 183533"/>
                  <a:gd name="connsiteY9" fmla="*/ 77957 h 239514"/>
                  <a:gd name="connsiteX10" fmla="*/ 51675 w 183533"/>
                  <a:gd name="connsiteY10" fmla="*/ 88649 h 239514"/>
                  <a:gd name="connsiteX11" fmla="*/ 66969 w 183533"/>
                  <a:gd name="connsiteY11" fmla="*/ 95925 h 239514"/>
                  <a:gd name="connsiteX12" fmla="*/ 82263 w 183533"/>
                  <a:gd name="connsiteY12" fmla="*/ 100528 h 239514"/>
                  <a:gd name="connsiteX13" fmla="*/ 119089 w 183533"/>
                  <a:gd name="connsiteY13" fmla="*/ 108843 h 239514"/>
                  <a:gd name="connsiteX14" fmla="*/ 142550 w 183533"/>
                  <a:gd name="connsiteY14" fmla="*/ 115228 h 239514"/>
                  <a:gd name="connsiteX15" fmla="*/ 163191 w 183533"/>
                  <a:gd name="connsiteY15" fmla="*/ 127256 h 239514"/>
                  <a:gd name="connsiteX16" fmla="*/ 177891 w 183533"/>
                  <a:gd name="connsiteY16" fmla="*/ 145669 h 239514"/>
                  <a:gd name="connsiteX17" fmla="*/ 183534 w 183533"/>
                  <a:gd name="connsiteY17" fmla="*/ 171506 h 239514"/>
                  <a:gd name="connsiteX18" fmla="*/ 175218 w 183533"/>
                  <a:gd name="connsiteY18" fmla="*/ 202838 h 239514"/>
                  <a:gd name="connsiteX19" fmla="*/ 153984 w 183533"/>
                  <a:gd name="connsiteY19" fmla="*/ 223923 h 239514"/>
                  <a:gd name="connsiteX20" fmla="*/ 124880 w 183533"/>
                  <a:gd name="connsiteY20" fmla="*/ 235802 h 239514"/>
                  <a:gd name="connsiteX21" fmla="*/ 92806 w 183533"/>
                  <a:gd name="connsiteY21" fmla="*/ 239515 h 239514"/>
                  <a:gd name="connsiteX22" fmla="*/ 28213 w 183533"/>
                  <a:gd name="connsiteY22" fmla="*/ 220359 h 239514"/>
                  <a:gd name="connsiteX23" fmla="*/ 0 w 183533"/>
                  <a:gd name="connsiteY23" fmla="*/ 159627 h 239514"/>
                  <a:gd name="connsiteX24" fmla="*/ 27619 w 183533"/>
                  <a:gd name="connsiteY24" fmla="*/ 159627 h 239514"/>
                  <a:gd name="connsiteX25" fmla="*/ 47962 w 183533"/>
                  <a:gd name="connsiteY25" fmla="*/ 201947 h 239514"/>
                  <a:gd name="connsiteX26" fmla="*/ 94291 w 183533"/>
                  <a:gd name="connsiteY26" fmla="*/ 216202 h 239514"/>
                  <a:gd name="connsiteX27" fmla="*/ 114931 w 183533"/>
                  <a:gd name="connsiteY27" fmla="*/ 213974 h 239514"/>
                  <a:gd name="connsiteX28" fmla="*/ 135126 w 183533"/>
                  <a:gd name="connsiteY28" fmla="*/ 206550 h 239514"/>
                  <a:gd name="connsiteX29" fmla="*/ 150272 w 183533"/>
                  <a:gd name="connsiteY29" fmla="*/ 193186 h 239514"/>
                  <a:gd name="connsiteX30" fmla="*/ 156211 w 183533"/>
                  <a:gd name="connsiteY30" fmla="*/ 173288 h 239514"/>
                  <a:gd name="connsiteX31" fmla="*/ 152054 w 183533"/>
                  <a:gd name="connsiteY31" fmla="*/ 156657 h 239514"/>
                  <a:gd name="connsiteX32" fmla="*/ 140917 w 183533"/>
                  <a:gd name="connsiteY32" fmla="*/ 145075 h 239514"/>
                  <a:gd name="connsiteX33" fmla="*/ 124880 w 183533"/>
                  <a:gd name="connsiteY33" fmla="*/ 137353 h 239514"/>
                  <a:gd name="connsiteX34" fmla="*/ 106616 w 183533"/>
                  <a:gd name="connsiteY34" fmla="*/ 132156 h 239514"/>
                  <a:gd name="connsiteX35" fmla="*/ 71127 w 183533"/>
                  <a:gd name="connsiteY35" fmla="*/ 124286 h 239514"/>
                  <a:gd name="connsiteX36" fmla="*/ 46180 w 183533"/>
                  <a:gd name="connsiteY36" fmla="*/ 116119 h 239514"/>
                  <a:gd name="connsiteX37" fmla="*/ 26283 w 183533"/>
                  <a:gd name="connsiteY37" fmla="*/ 104686 h 239514"/>
                  <a:gd name="connsiteX38" fmla="*/ 12919 w 183533"/>
                  <a:gd name="connsiteY38" fmla="*/ 88055 h 239514"/>
                  <a:gd name="connsiteX39" fmla="*/ 8167 w 183533"/>
                  <a:gd name="connsiteY39" fmla="*/ 63702 h 239514"/>
                  <a:gd name="connsiteX40" fmla="*/ 15888 w 183533"/>
                  <a:gd name="connsiteY40" fmla="*/ 34301 h 239514"/>
                  <a:gd name="connsiteX41" fmla="*/ 35786 w 183533"/>
                  <a:gd name="connsiteY41" fmla="*/ 14552 h 239514"/>
                  <a:gd name="connsiteX42" fmla="*/ 63257 w 183533"/>
                  <a:gd name="connsiteY42" fmla="*/ 3564 h 239514"/>
                  <a:gd name="connsiteX43" fmla="*/ 93252 w 183533"/>
                  <a:gd name="connsiteY43" fmla="*/ 0 h 239514"/>
                  <a:gd name="connsiteX44" fmla="*/ 125029 w 183533"/>
                  <a:gd name="connsiteY44" fmla="*/ 4306 h 239514"/>
                  <a:gd name="connsiteX45" fmla="*/ 150866 w 183533"/>
                  <a:gd name="connsiteY45" fmla="*/ 17967 h 239514"/>
                  <a:gd name="connsiteX46" fmla="*/ 168685 w 183533"/>
                  <a:gd name="connsiteY46" fmla="*/ 40835 h 239514"/>
                  <a:gd name="connsiteX47" fmla="*/ 176109 w 183533"/>
                  <a:gd name="connsiteY47" fmla="*/ 72909 h 239514"/>
                  <a:gd name="connsiteX48" fmla="*/ 148044 w 183533"/>
                  <a:gd name="connsiteY48" fmla="*/ 72909 h 239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83533" h="239514">
                    <a:moveTo>
                      <a:pt x="148044" y="73057"/>
                    </a:moveTo>
                    <a:cubicBezTo>
                      <a:pt x="147748" y="64593"/>
                      <a:pt x="145966" y="57169"/>
                      <a:pt x="142847" y="50932"/>
                    </a:cubicBezTo>
                    <a:cubicBezTo>
                      <a:pt x="139581" y="44696"/>
                      <a:pt x="135274" y="39498"/>
                      <a:pt x="129929" y="35341"/>
                    </a:cubicBezTo>
                    <a:cubicBezTo>
                      <a:pt x="124583" y="31183"/>
                      <a:pt x="118346" y="28213"/>
                      <a:pt x="111368" y="26283"/>
                    </a:cubicBezTo>
                    <a:cubicBezTo>
                      <a:pt x="104389" y="24352"/>
                      <a:pt x="96964" y="23461"/>
                      <a:pt x="88945" y="23461"/>
                    </a:cubicBezTo>
                    <a:cubicBezTo>
                      <a:pt x="82857" y="23461"/>
                      <a:pt x="76621" y="24055"/>
                      <a:pt x="70384" y="25392"/>
                    </a:cubicBezTo>
                    <a:cubicBezTo>
                      <a:pt x="64148" y="26728"/>
                      <a:pt x="58357" y="28956"/>
                      <a:pt x="53011" y="31925"/>
                    </a:cubicBezTo>
                    <a:cubicBezTo>
                      <a:pt x="47814" y="35044"/>
                      <a:pt x="43508" y="39053"/>
                      <a:pt x="40241" y="43953"/>
                    </a:cubicBezTo>
                    <a:cubicBezTo>
                      <a:pt x="36974" y="48853"/>
                      <a:pt x="35489" y="55090"/>
                      <a:pt x="35489" y="62366"/>
                    </a:cubicBezTo>
                    <a:cubicBezTo>
                      <a:pt x="35489" y="68454"/>
                      <a:pt x="36974" y="73651"/>
                      <a:pt x="40092" y="77957"/>
                    </a:cubicBezTo>
                    <a:cubicBezTo>
                      <a:pt x="43210" y="82264"/>
                      <a:pt x="47071" y="85827"/>
                      <a:pt x="51675" y="88649"/>
                    </a:cubicBezTo>
                    <a:cubicBezTo>
                      <a:pt x="56278" y="91618"/>
                      <a:pt x="61475" y="93994"/>
                      <a:pt x="66969" y="95925"/>
                    </a:cubicBezTo>
                    <a:cubicBezTo>
                      <a:pt x="72463" y="97855"/>
                      <a:pt x="77660" y="99340"/>
                      <a:pt x="82263" y="100528"/>
                    </a:cubicBezTo>
                    <a:lnTo>
                      <a:pt x="119089" y="108843"/>
                    </a:lnTo>
                    <a:cubicBezTo>
                      <a:pt x="126959" y="110031"/>
                      <a:pt x="134829" y="112110"/>
                      <a:pt x="142550" y="115228"/>
                    </a:cubicBezTo>
                    <a:cubicBezTo>
                      <a:pt x="150272" y="118347"/>
                      <a:pt x="157102" y="122356"/>
                      <a:pt x="163191" y="127256"/>
                    </a:cubicBezTo>
                    <a:cubicBezTo>
                      <a:pt x="169130" y="132305"/>
                      <a:pt x="174030" y="138393"/>
                      <a:pt x="177891" y="145669"/>
                    </a:cubicBezTo>
                    <a:cubicBezTo>
                      <a:pt x="181752" y="152945"/>
                      <a:pt x="183534" y="161557"/>
                      <a:pt x="183534" y="171506"/>
                    </a:cubicBezTo>
                    <a:cubicBezTo>
                      <a:pt x="183534" y="183831"/>
                      <a:pt x="180712" y="194225"/>
                      <a:pt x="175218" y="202838"/>
                    </a:cubicBezTo>
                    <a:cubicBezTo>
                      <a:pt x="169724" y="211450"/>
                      <a:pt x="162597" y="218429"/>
                      <a:pt x="153984" y="223923"/>
                    </a:cubicBezTo>
                    <a:cubicBezTo>
                      <a:pt x="145372" y="229269"/>
                      <a:pt x="135571" y="233278"/>
                      <a:pt x="124880" y="235802"/>
                    </a:cubicBezTo>
                    <a:cubicBezTo>
                      <a:pt x="114040" y="238327"/>
                      <a:pt x="103349" y="239515"/>
                      <a:pt x="92806" y="239515"/>
                    </a:cubicBezTo>
                    <a:cubicBezTo>
                      <a:pt x="66226" y="239515"/>
                      <a:pt x="44695" y="233129"/>
                      <a:pt x="28213" y="220359"/>
                    </a:cubicBezTo>
                    <a:cubicBezTo>
                      <a:pt x="11731" y="207589"/>
                      <a:pt x="2227" y="187395"/>
                      <a:pt x="0" y="159627"/>
                    </a:cubicBezTo>
                    <a:lnTo>
                      <a:pt x="27619" y="159627"/>
                    </a:lnTo>
                    <a:cubicBezTo>
                      <a:pt x="28807" y="178337"/>
                      <a:pt x="35638" y="192443"/>
                      <a:pt x="47962" y="201947"/>
                    </a:cubicBezTo>
                    <a:cubicBezTo>
                      <a:pt x="60435" y="211450"/>
                      <a:pt x="75878" y="216202"/>
                      <a:pt x="94291" y="216202"/>
                    </a:cubicBezTo>
                    <a:cubicBezTo>
                      <a:pt x="100676" y="216202"/>
                      <a:pt x="107655" y="215459"/>
                      <a:pt x="114931" y="213974"/>
                    </a:cubicBezTo>
                    <a:cubicBezTo>
                      <a:pt x="122207" y="212489"/>
                      <a:pt x="128889" y="209965"/>
                      <a:pt x="135126" y="206550"/>
                    </a:cubicBezTo>
                    <a:cubicBezTo>
                      <a:pt x="141214" y="202986"/>
                      <a:pt x="146263" y="198531"/>
                      <a:pt x="150272" y="193186"/>
                    </a:cubicBezTo>
                    <a:cubicBezTo>
                      <a:pt x="154281" y="187840"/>
                      <a:pt x="156211" y="181158"/>
                      <a:pt x="156211" y="173288"/>
                    </a:cubicBezTo>
                    <a:cubicBezTo>
                      <a:pt x="156211" y="166903"/>
                      <a:pt x="154875" y="161260"/>
                      <a:pt x="152054" y="156657"/>
                    </a:cubicBezTo>
                    <a:cubicBezTo>
                      <a:pt x="149232" y="152054"/>
                      <a:pt x="145520" y="148045"/>
                      <a:pt x="140917" y="145075"/>
                    </a:cubicBezTo>
                    <a:cubicBezTo>
                      <a:pt x="136165" y="141957"/>
                      <a:pt x="130968" y="139432"/>
                      <a:pt x="124880" y="137353"/>
                    </a:cubicBezTo>
                    <a:cubicBezTo>
                      <a:pt x="118941" y="135275"/>
                      <a:pt x="112852" y="133493"/>
                      <a:pt x="106616" y="132156"/>
                    </a:cubicBezTo>
                    <a:lnTo>
                      <a:pt x="71127" y="124286"/>
                    </a:lnTo>
                    <a:cubicBezTo>
                      <a:pt x="62069" y="121910"/>
                      <a:pt x="53753" y="119238"/>
                      <a:pt x="46180" y="116119"/>
                    </a:cubicBezTo>
                    <a:cubicBezTo>
                      <a:pt x="38607" y="113001"/>
                      <a:pt x="31925" y="109289"/>
                      <a:pt x="26283" y="104686"/>
                    </a:cubicBezTo>
                    <a:cubicBezTo>
                      <a:pt x="20640" y="100231"/>
                      <a:pt x="16185" y="94588"/>
                      <a:pt x="12919" y="88055"/>
                    </a:cubicBezTo>
                    <a:cubicBezTo>
                      <a:pt x="9652" y="81521"/>
                      <a:pt x="8167" y="73354"/>
                      <a:pt x="8167" y="63702"/>
                    </a:cubicBezTo>
                    <a:cubicBezTo>
                      <a:pt x="8167" y="52269"/>
                      <a:pt x="10691" y="42468"/>
                      <a:pt x="15888" y="34301"/>
                    </a:cubicBezTo>
                    <a:cubicBezTo>
                      <a:pt x="20937" y="26134"/>
                      <a:pt x="27619" y="19601"/>
                      <a:pt x="35786" y="14552"/>
                    </a:cubicBezTo>
                    <a:cubicBezTo>
                      <a:pt x="43953" y="9652"/>
                      <a:pt x="53159" y="5940"/>
                      <a:pt x="63257" y="3564"/>
                    </a:cubicBezTo>
                    <a:cubicBezTo>
                      <a:pt x="73354" y="1188"/>
                      <a:pt x="83303" y="0"/>
                      <a:pt x="93252" y="0"/>
                    </a:cubicBezTo>
                    <a:cubicBezTo>
                      <a:pt x="104685" y="0"/>
                      <a:pt x="115228" y="1485"/>
                      <a:pt x="125029" y="4306"/>
                    </a:cubicBezTo>
                    <a:cubicBezTo>
                      <a:pt x="134829" y="7276"/>
                      <a:pt x="143441" y="11731"/>
                      <a:pt x="150866" y="17967"/>
                    </a:cubicBezTo>
                    <a:cubicBezTo>
                      <a:pt x="158290" y="24055"/>
                      <a:pt x="164230" y="31628"/>
                      <a:pt x="168685" y="40835"/>
                    </a:cubicBezTo>
                    <a:cubicBezTo>
                      <a:pt x="173139" y="49893"/>
                      <a:pt x="175515" y="60584"/>
                      <a:pt x="176109" y="72909"/>
                    </a:cubicBezTo>
                    <a:lnTo>
                      <a:pt x="148044" y="7290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63BAF593-77B8-4820-8C1C-452267C64ED3}"/>
                  </a:ext>
                </a:extLst>
              </p:cNvPr>
              <p:cNvSpPr/>
              <p:nvPr/>
            </p:nvSpPr>
            <p:spPr>
              <a:xfrm>
                <a:off x="3306058" y="1665919"/>
                <a:ext cx="183830" cy="313314"/>
              </a:xfrm>
              <a:custGeom>
                <a:avLst/>
                <a:gdLst>
                  <a:gd name="connsiteX0" fmla="*/ 0 w 183830"/>
                  <a:gd name="connsiteY0" fmla="*/ 0 h 313314"/>
                  <a:gd name="connsiteX1" fmla="*/ 27619 w 183830"/>
                  <a:gd name="connsiteY1" fmla="*/ 0 h 313314"/>
                  <a:gd name="connsiteX2" fmla="*/ 27619 w 183830"/>
                  <a:gd name="connsiteY2" fmla="*/ 132453 h 313314"/>
                  <a:gd name="connsiteX3" fmla="*/ 28510 w 183830"/>
                  <a:gd name="connsiteY3" fmla="*/ 132453 h 313314"/>
                  <a:gd name="connsiteX4" fmla="*/ 39647 w 183830"/>
                  <a:gd name="connsiteY4" fmla="*/ 113892 h 313314"/>
                  <a:gd name="connsiteX5" fmla="*/ 56575 w 183830"/>
                  <a:gd name="connsiteY5" fmla="*/ 99488 h 313314"/>
                  <a:gd name="connsiteX6" fmla="*/ 77661 w 183830"/>
                  <a:gd name="connsiteY6" fmla="*/ 90282 h 313314"/>
                  <a:gd name="connsiteX7" fmla="*/ 100825 w 183830"/>
                  <a:gd name="connsiteY7" fmla="*/ 87015 h 313314"/>
                  <a:gd name="connsiteX8" fmla="*/ 140472 w 183830"/>
                  <a:gd name="connsiteY8" fmla="*/ 92955 h 313314"/>
                  <a:gd name="connsiteX9" fmla="*/ 166161 w 183830"/>
                  <a:gd name="connsiteY9" fmla="*/ 109734 h 313314"/>
                  <a:gd name="connsiteX10" fmla="*/ 179822 w 183830"/>
                  <a:gd name="connsiteY10" fmla="*/ 136314 h 313314"/>
                  <a:gd name="connsiteX11" fmla="*/ 183831 w 183830"/>
                  <a:gd name="connsiteY11" fmla="*/ 171655 h 313314"/>
                  <a:gd name="connsiteX12" fmla="*/ 183831 w 183830"/>
                  <a:gd name="connsiteY12" fmla="*/ 313166 h 313314"/>
                  <a:gd name="connsiteX13" fmla="*/ 156212 w 183830"/>
                  <a:gd name="connsiteY13" fmla="*/ 313166 h 313314"/>
                  <a:gd name="connsiteX14" fmla="*/ 156212 w 183830"/>
                  <a:gd name="connsiteY14" fmla="*/ 176406 h 313314"/>
                  <a:gd name="connsiteX15" fmla="*/ 153539 w 183830"/>
                  <a:gd name="connsiteY15" fmla="*/ 150272 h 313314"/>
                  <a:gd name="connsiteX16" fmla="*/ 144332 w 183830"/>
                  <a:gd name="connsiteY16" fmla="*/ 129186 h 313314"/>
                  <a:gd name="connsiteX17" fmla="*/ 126514 w 183830"/>
                  <a:gd name="connsiteY17" fmla="*/ 115228 h 313314"/>
                  <a:gd name="connsiteX18" fmla="*/ 98597 w 183830"/>
                  <a:gd name="connsiteY18" fmla="*/ 110180 h 313314"/>
                  <a:gd name="connsiteX19" fmla="*/ 69048 w 183830"/>
                  <a:gd name="connsiteY19" fmla="*/ 115971 h 313314"/>
                  <a:gd name="connsiteX20" fmla="*/ 46923 w 183830"/>
                  <a:gd name="connsiteY20" fmla="*/ 131711 h 313314"/>
                  <a:gd name="connsiteX21" fmla="*/ 32965 w 183830"/>
                  <a:gd name="connsiteY21" fmla="*/ 155469 h 313314"/>
                  <a:gd name="connsiteX22" fmla="*/ 27768 w 183830"/>
                  <a:gd name="connsiteY22" fmla="*/ 185464 h 313314"/>
                  <a:gd name="connsiteX23" fmla="*/ 27768 w 183830"/>
                  <a:gd name="connsiteY23" fmla="*/ 313314 h 313314"/>
                  <a:gd name="connsiteX24" fmla="*/ 149 w 183830"/>
                  <a:gd name="connsiteY24" fmla="*/ 313314 h 313314"/>
                  <a:gd name="connsiteX25" fmla="*/ 149 w 183830"/>
                  <a:gd name="connsiteY25" fmla="*/ 0 h 31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3830" h="313314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132453"/>
                    </a:lnTo>
                    <a:lnTo>
                      <a:pt x="28510" y="132453"/>
                    </a:lnTo>
                    <a:cubicBezTo>
                      <a:pt x="31183" y="125771"/>
                      <a:pt x="34895" y="119535"/>
                      <a:pt x="39647" y="113892"/>
                    </a:cubicBezTo>
                    <a:cubicBezTo>
                      <a:pt x="44547" y="108249"/>
                      <a:pt x="50041" y="103349"/>
                      <a:pt x="56575" y="99488"/>
                    </a:cubicBezTo>
                    <a:cubicBezTo>
                      <a:pt x="62960" y="95479"/>
                      <a:pt x="69939" y="92509"/>
                      <a:pt x="77661" y="90282"/>
                    </a:cubicBezTo>
                    <a:cubicBezTo>
                      <a:pt x="85233" y="88055"/>
                      <a:pt x="92955" y="87015"/>
                      <a:pt x="100825" y="87015"/>
                    </a:cubicBezTo>
                    <a:cubicBezTo>
                      <a:pt x="116565" y="87015"/>
                      <a:pt x="129780" y="88946"/>
                      <a:pt x="140472" y="92955"/>
                    </a:cubicBezTo>
                    <a:cubicBezTo>
                      <a:pt x="151163" y="96964"/>
                      <a:pt x="159627" y="102607"/>
                      <a:pt x="166161" y="109734"/>
                    </a:cubicBezTo>
                    <a:cubicBezTo>
                      <a:pt x="172546" y="117010"/>
                      <a:pt x="177149" y="125920"/>
                      <a:pt x="179822" y="136314"/>
                    </a:cubicBezTo>
                    <a:cubicBezTo>
                      <a:pt x="182495" y="146857"/>
                      <a:pt x="183831" y="158587"/>
                      <a:pt x="183831" y="171655"/>
                    </a:cubicBezTo>
                    <a:lnTo>
                      <a:pt x="183831" y="313166"/>
                    </a:lnTo>
                    <a:lnTo>
                      <a:pt x="156212" y="313166"/>
                    </a:lnTo>
                    <a:lnTo>
                      <a:pt x="156212" y="176406"/>
                    </a:lnTo>
                    <a:cubicBezTo>
                      <a:pt x="156212" y="167051"/>
                      <a:pt x="155321" y="158290"/>
                      <a:pt x="153539" y="150272"/>
                    </a:cubicBezTo>
                    <a:cubicBezTo>
                      <a:pt x="151757" y="142254"/>
                      <a:pt x="148639" y="135275"/>
                      <a:pt x="144332" y="129186"/>
                    </a:cubicBezTo>
                    <a:cubicBezTo>
                      <a:pt x="139878" y="123247"/>
                      <a:pt x="134087" y="118644"/>
                      <a:pt x="126514" y="115228"/>
                    </a:cubicBezTo>
                    <a:cubicBezTo>
                      <a:pt x="119089" y="111813"/>
                      <a:pt x="109734" y="110180"/>
                      <a:pt x="98597" y="110180"/>
                    </a:cubicBezTo>
                    <a:cubicBezTo>
                      <a:pt x="87461" y="110180"/>
                      <a:pt x="77661" y="112110"/>
                      <a:pt x="69048" y="115971"/>
                    </a:cubicBezTo>
                    <a:cubicBezTo>
                      <a:pt x="60436" y="119832"/>
                      <a:pt x="53011" y="125029"/>
                      <a:pt x="46923" y="131711"/>
                    </a:cubicBezTo>
                    <a:cubicBezTo>
                      <a:pt x="40835" y="138393"/>
                      <a:pt x="36083" y="146263"/>
                      <a:pt x="32965" y="155469"/>
                    </a:cubicBezTo>
                    <a:cubicBezTo>
                      <a:pt x="29698" y="164676"/>
                      <a:pt x="27916" y="174624"/>
                      <a:pt x="27768" y="185464"/>
                    </a:cubicBezTo>
                    <a:lnTo>
                      <a:pt x="27768" y="313314"/>
                    </a:lnTo>
                    <a:lnTo>
                      <a:pt x="149" y="313314"/>
                    </a:lnTo>
                    <a:lnTo>
                      <a:pt x="149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1CB49E16-2040-4E0B-9520-894C7BB7096E}"/>
                  </a:ext>
                </a:extLst>
              </p:cNvPr>
              <p:cNvSpPr/>
              <p:nvPr/>
            </p:nvSpPr>
            <p:spPr>
              <a:xfrm>
                <a:off x="3542306" y="1665919"/>
                <a:ext cx="27619" cy="313017"/>
              </a:xfrm>
              <a:custGeom>
                <a:avLst/>
                <a:gdLst>
                  <a:gd name="connsiteX0" fmla="*/ 0 w 27619"/>
                  <a:gd name="connsiteY0" fmla="*/ 0 h 313017"/>
                  <a:gd name="connsiteX1" fmla="*/ 27619 w 27619"/>
                  <a:gd name="connsiteY1" fmla="*/ 0 h 313017"/>
                  <a:gd name="connsiteX2" fmla="*/ 27619 w 27619"/>
                  <a:gd name="connsiteY2" fmla="*/ 44250 h 313017"/>
                  <a:gd name="connsiteX3" fmla="*/ 0 w 27619"/>
                  <a:gd name="connsiteY3" fmla="*/ 44250 h 313017"/>
                  <a:gd name="connsiteX4" fmla="*/ 0 w 27619"/>
                  <a:gd name="connsiteY4" fmla="*/ 0 h 313017"/>
                  <a:gd name="connsiteX5" fmla="*/ 0 w 27619"/>
                  <a:gd name="connsiteY5" fmla="*/ 86718 h 313017"/>
                  <a:gd name="connsiteX6" fmla="*/ 27619 w 27619"/>
                  <a:gd name="connsiteY6" fmla="*/ 86718 h 313017"/>
                  <a:gd name="connsiteX7" fmla="*/ 27619 w 27619"/>
                  <a:gd name="connsiteY7" fmla="*/ 313017 h 313017"/>
                  <a:gd name="connsiteX8" fmla="*/ 0 w 27619"/>
                  <a:gd name="connsiteY8" fmla="*/ 313017 h 313017"/>
                  <a:gd name="connsiteX9" fmla="*/ 0 w 27619"/>
                  <a:gd name="connsiteY9" fmla="*/ 86718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19" h="31301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44250"/>
                    </a:lnTo>
                    <a:lnTo>
                      <a:pt x="0" y="44250"/>
                    </a:lnTo>
                    <a:lnTo>
                      <a:pt x="0" y="0"/>
                    </a:lnTo>
                    <a:close/>
                    <a:moveTo>
                      <a:pt x="0" y="86718"/>
                    </a:moveTo>
                    <a:lnTo>
                      <a:pt x="27619" y="86718"/>
                    </a:lnTo>
                    <a:lnTo>
                      <a:pt x="27619" y="313017"/>
                    </a:lnTo>
                    <a:lnTo>
                      <a:pt x="0" y="313017"/>
                    </a:lnTo>
                    <a:lnTo>
                      <a:pt x="0" y="86718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1D4228B3-6CBC-4A3B-87DE-94DB301D95D1}"/>
                  </a:ext>
                </a:extLst>
              </p:cNvPr>
              <p:cNvSpPr/>
              <p:nvPr/>
            </p:nvSpPr>
            <p:spPr>
              <a:xfrm>
                <a:off x="3623085" y="1752489"/>
                <a:ext cx="208628" cy="310047"/>
              </a:xfrm>
              <a:custGeom>
                <a:avLst/>
                <a:gdLst>
                  <a:gd name="connsiteX0" fmla="*/ 0 w 208628"/>
                  <a:gd name="connsiteY0" fmla="*/ 149 h 310047"/>
                  <a:gd name="connsiteX1" fmla="*/ 25392 w 208628"/>
                  <a:gd name="connsiteY1" fmla="*/ 149 h 310047"/>
                  <a:gd name="connsiteX2" fmla="*/ 25392 w 208628"/>
                  <a:gd name="connsiteY2" fmla="*/ 43062 h 310047"/>
                  <a:gd name="connsiteX3" fmla="*/ 26283 w 208628"/>
                  <a:gd name="connsiteY3" fmla="*/ 43062 h 310047"/>
                  <a:gd name="connsiteX4" fmla="*/ 57614 w 208628"/>
                  <a:gd name="connsiteY4" fmla="*/ 9949 h 310047"/>
                  <a:gd name="connsiteX5" fmla="*/ 106913 w 208628"/>
                  <a:gd name="connsiteY5" fmla="*/ 0 h 310047"/>
                  <a:gd name="connsiteX6" fmla="*/ 151905 w 208628"/>
                  <a:gd name="connsiteY6" fmla="*/ 9058 h 310047"/>
                  <a:gd name="connsiteX7" fmla="*/ 183682 w 208628"/>
                  <a:gd name="connsiteY7" fmla="*/ 33707 h 310047"/>
                  <a:gd name="connsiteX8" fmla="*/ 202541 w 208628"/>
                  <a:gd name="connsiteY8" fmla="*/ 69790 h 310047"/>
                  <a:gd name="connsiteX9" fmla="*/ 208629 w 208628"/>
                  <a:gd name="connsiteY9" fmla="*/ 113149 h 310047"/>
                  <a:gd name="connsiteX10" fmla="*/ 202541 w 208628"/>
                  <a:gd name="connsiteY10" fmla="*/ 156509 h 310047"/>
                  <a:gd name="connsiteX11" fmla="*/ 183682 w 208628"/>
                  <a:gd name="connsiteY11" fmla="*/ 192592 h 310047"/>
                  <a:gd name="connsiteX12" fmla="*/ 151905 w 208628"/>
                  <a:gd name="connsiteY12" fmla="*/ 217241 h 310047"/>
                  <a:gd name="connsiteX13" fmla="*/ 106913 w 208628"/>
                  <a:gd name="connsiteY13" fmla="*/ 226299 h 310047"/>
                  <a:gd name="connsiteX14" fmla="*/ 82115 w 208628"/>
                  <a:gd name="connsiteY14" fmla="*/ 223181 h 310047"/>
                  <a:gd name="connsiteX15" fmla="*/ 59544 w 208628"/>
                  <a:gd name="connsiteY15" fmla="*/ 213826 h 310047"/>
                  <a:gd name="connsiteX16" fmla="*/ 40983 w 208628"/>
                  <a:gd name="connsiteY16" fmla="*/ 198234 h 310047"/>
                  <a:gd name="connsiteX17" fmla="*/ 28510 w 208628"/>
                  <a:gd name="connsiteY17" fmla="*/ 176703 h 310047"/>
                  <a:gd name="connsiteX18" fmla="*/ 27619 w 208628"/>
                  <a:gd name="connsiteY18" fmla="*/ 176703 h 310047"/>
                  <a:gd name="connsiteX19" fmla="*/ 27619 w 208628"/>
                  <a:gd name="connsiteY19" fmla="*/ 310047 h 310047"/>
                  <a:gd name="connsiteX20" fmla="*/ 0 w 208628"/>
                  <a:gd name="connsiteY20" fmla="*/ 310047 h 310047"/>
                  <a:gd name="connsiteX21" fmla="*/ 0 w 208628"/>
                  <a:gd name="connsiteY21" fmla="*/ 149 h 310047"/>
                  <a:gd name="connsiteX22" fmla="*/ 176852 w 208628"/>
                  <a:gd name="connsiteY22" fmla="*/ 80927 h 310047"/>
                  <a:gd name="connsiteX23" fmla="*/ 163636 w 208628"/>
                  <a:gd name="connsiteY23" fmla="*/ 52120 h 310047"/>
                  <a:gd name="connsiteX24" fmla="*/ 140620 w 208628"/>
                  <a:gd name="connsiteY24" fmla="*/ 31480 h 310047"/>
                  <a:gd name="connsiteX25" fmla="*/ 106913 w 208628"/>
                  <a:gd name="connsiteY25" fmla="*/ 23461 h 310047"/>
                  <a:gd name="connsiteX26" fmla="*/ 68751 w 208628"/>
                  <a:gd name="connsiteY26" fmla="*/ 30886 h 310047"/>
                  <a:gd name="connsiteX27" fmla="*/ 44250 w 208628"/>
                  <a:gd name="connsiteY27" fmla="*/ 50487 h 310047"/>
                  <a:gd name="connsiteX28" fmla="*/ 31331 w 208628"/>
                  <a:gd name="connsiteY28" fmla="*/ 79145 h 310047"/>
                  <a:gd name="connsiteX29" fmla="*/ 27619 w 208628"/>
                  <a:gd name="connsiteY29" fmla="*/ 113446 h 310047"/>
                  <a:gd name="connsiteX30" fmla="*/ 31777 w 208628"/>
                  <a:gd name="connsiteY30" fmla="*/ 145966 h 310047"/>
                  <a:gd name="connsiteX31" fmla="*/ 45438 w 208628"/>
                  <a:gd name="connsiteY31" fmla="*/ 174773 h 310047"/>
                  <a:gd name="connsiteX32" fmla="*/ 69939 w 208628"/>
                  <a:gd name="connsiteY32" fmla="*/ 195413 h 310047"/>
                  <a:gd name="connsiteX33" fmla="*/ 107061 w 208628"/>
                  <a:gd name="connsiteY33" fmla="*/ 203431 h 310047"/>
                  <a:gd name="connsiteX34" fmla="*/ 140769 w 208628"/>
                  <a:gd name="connsiteY34" fmla="*/ 195413 h 310047"/>
                  <a:gd name="connsiteX35" fmla="*/ 163785 w 208628"/>
                  <a:gd name="connsiteY35" fmla="*/ 174773 h 310047"/>
                  <a:gd name="connsiteX36" fmla="*/ 177000 w 208628"/>
                  <a:gd name="connsiteY36" fmla="*/ 145966 h 310047"/>
                  <a:gd name="connsiteX37" fmla="*/ 181158 w 208628"/>
                  <a:gd name="connsiteY37" fmla="*/ 113446 h 310047"/>
                  <a:gd name="connsiteX38" fmla="*/ 176852 w 208628"/>
                  <a:gd name="connsiteY38" fmla="*/ 80927 h 310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8628" h="310047">
                    <a:moveTo>
                      <a:pt x="0" y="149"/>
                    </a:moveTo>
                    <a:lnTo>
                      <a:pt x="25392" y="149"/>
                    </a:lnTo>
                    <a:lnTo>
                      <a:pt x="25392" y="43062"/>
                    </a:lnTo>
                    <a:lnTo>
                      <a:pt x="26283" y="43062"/>
                    </a:lnTo>
                    <a:cubicBezTo>
                      <a:pt x="32668" y="27619"/>
                      <a:pt x="43211" y="16482"/>
                      <a:pt x="57614" y="9949"/>
                    </a:cubicBezTo>
                    <a:cubicBezTo>
                      <a:pt x="72018" y="3415"/>
                      <a:pt x="88500" y="0"/>
                      <a:pt x="106913" y="0"/>
                    </a:cubicBezTo>
                    <a:cubicBezTo>
                      <a:pt x="124138" y="0"/>
                      <a:pt x="139135" y="3118"/>
                      <a:pt x="151905" y="9058"/>
                    </a:cubicBezTo>
                    <a:cubicBezTo>
                      <a:pt x="164676" y="15146"/>
                      <a:pt x="175218" y="23313"/>
                      <a:pt x="183682" y="33707"/>
                    </a:cubicBezTo>
                    <a:cubicBezTo>
                      <a:pt x="192146" y="44102"/>
                      <a:pt x="198383" y="56129"/>
                      <a:pt x="202541" y="69790"/>
                    </a:cubicBezTo>
                    <a:cubicBezTo>
                      <a:pt x="206698" y="83451"/>
                      <a:pt x="208629" y="97855"/>
                      <a:pt x="208629" y="113149"/>
                    </a:cubicBezTo>
                    <a:cubicBezTo>
                      <a:pt x="208629" y="128295"/>
                      <a:pt x="206550" y="142847"/>
                      <a:pt x="202541" y="156509"/>
                    </a:cubicBezTo>
                    <a:cubicBezTo>
                      <a:pt x="198383" y="170170"/>
                      <a:pt x="192146" y="182197"/>
                      <a:pt x="183682" y="192592"/>
                    </a:cubicBezTo>
                    <a:cubicBezTo>
                      <a:pt x="175218" y="202986"/>
                      <a:pt x="164676" y="211153"/>
                      <a:pt x="151905" y="217241"/>
                    </a:cubicBezTo>
                    <a:cubicBezTo>
                      <a:pt x="139135" y="223329"/>
                      <a:pt x="124138" y="226299"/>
                      <a:pt x="106913" y="226299"/>
                    </a:cubicBezTo>
                    <a:cubicBezTo>
                      <a:pt x="98449" y="226299"/>
                      <a:pt x="90133" y="225260"/>
                      <a:pt x="82115" y="223181"/>
                    </a:cubicBezTo>
                    <a:cubicBezTo>
                      <a:pt x="74096" y="221102"/>
                      <a:pt x="66524" y="217984"/>
                      <a:pt x="59544" y="213826"/>
                    </a:cubicBezTo>
                    <a:cubicBezTo>
                      <a:pt x="52565" y="209520"/>
                      <a:pt x="46329" y="204471"/>
                      <a:pt x="40983" y="198234"/>
                    </a:cubicBezTo>
                    <a:cubicBezTo>
                      <a:pt x="35638" y="192146"/>
                      <a:pt x="31331" y="184870"/>
                      <a:pt x="28510" y="176703"/>
                    </a:cubicBezTo>
                    <a:lnTo>
                      <a:pt x="27619" y="176703"/>
                    </a:lnTo>
                    <a:lnTo>
                      <a:pt x="27619" y="310047"/>
                    </a:lnTo>
                    <a:lnTo>
                      <a:pt x="0" y="310047"/>
                    </a:lnTo>
                    <a:lnTo>
                      <a:pt x="0" y="149"/>
                    </a:lnTo>
                    <a:close/>
                    <a:moveTo>
                      <a:pt x="176852" y="80927"/>
                    </a:moveTo>
                    <a:cubicBezTo>
                      <a:pt x="174030" y="70236"/>
                      <a:pt x="169724" y="60584"/>
                      <a:pt x="163636" y="52120"/>
                    </a:cubicBezTo>
                    <a:cubicBezTo>
                      <a:pt x="157696" y="43656"/>
                      <a:pt x="149975" y="36826"/>
                      <a:pt x="140620" y="31480"/>
                    </a:cubicBezTo>
                    <a:cubicBezTo>
                      <a:pt x="131265" y="26134"/>
                      <a:pt x="119980" y="23461"/>
                      <a:pt x="106913" y="23461"/>
                    </a:cubicBezTo>
                    <a:cubicBezTo>
                      <a:pt x="91767" y="23461"/>
                      <a:pt x="78997" y="25986"/>
                      <a:pt x="68751" y="30886"/>
                    </a:cubicBezTo>
                    <a:cubicBezTo>
                      <a:pt x="58505" y="35786"/>
                      <a:pt x="50338" y="42320"/>
                      <a:pt x="44250" y="50487"/>
                    </a:cubicBezTo>
                    <a:cubicBezTo>
                      <a:pt x="38162" y="58654"/>
                      <a:pt x="33856" y="68157"/>
                      <a:pt x="31331" y="79145"/>
                    </a:cubicBezTo>
                    <a:cubicBezTo>
                      <a:pt x="28807" y="89985"/>
                      <a:pt x="27619" y="101419"/>
                      <a:pt x="27619" y="113446"/>
                    </a:cubicBezTo>
                    <a:cubicBezTo>
                      <a:pt x="27619" y="124286"/>
                      <a:pt x="28956" y="135126"/>
                      <a:pt x="31777" y="145966"/>
                    </a:cubicBezTo>
                    <a:cubicBezTo>
                      <a:pt x="34598" y="156657"/>
                      <a:pt x="39053" y="166309"/>
                      <a:pt x="45438" y="174773"/>
                    </a:cubicBezTo>
                    <a:cubicBezTo>
                      <a:pt x="51675" y="183237"/>
                      <a:pt x="59842" y="190067"/>
                      <a:pt x="69939" y="195413"/>
                    </a:cubicBezTo>
                    <a:cubicBezTo>
                      <a:pt x="80036" y="200759"/>
                      <a:pt x="92361" y="203431"/>
                      <a:pt x="107061" y="203431"/>
                    </a:cubicBezTo>
                    <a:cubicBezTo>
                      <a:pt x="120277" y="203431"/>
                      <a:pt x="131414" y="200759"/>
                      <a:pt x="140769" y="195413"/>
                    </a:cubicBezTo>
                    <a:cubicBezTo>
                      <a:pt x="150124" y="190067"/>
                      <a:pt x="157845" y="183237"/>
                      <a:pt x="163785" y="174773"/>
                    </a:cubicBezTo>
                    <a:cubicBezTo>
                      <a:pt x="169724" y="166309"/>
                      <a:pt x="174179" y="156657"/>
                      <a:pt x="177000" y="145966"/>
                    </a:cubicBezTo>
                    <a:cubicBezTo>
                      <a:pt x="179822" y="135275"/>
                      <a:pt x="181158" y="124435"/>
                      <a:pt x="181158" y="113446"/>
                    </a:cubicBezTo>
                    <a:cubicBezTo>
                      <a:pt x="181010" y="102458"/>
                      <a:pt x="179673" y="91618"/>
                      <a:pt x="176852" y="80927"/>
                    </a:cubicBez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E892E15F-D561-47CE-A892-3762CAA3FD39}"/>
                  </a:ext>
                </a:extLst>
              </p:cNvPr>
              <p:cNvSpPr/>
              <p:nvPr/>
            </p:nvSpPr>
            <p:spPr>
              <a:xfrm>
                <a:off x="4004111" y="1665919"/>
                <a:ext cx="29846" cy="313017"/>
              </a:xfrm>
              <a:custGeom>
                <a:avLst/>
                <a:gdLst>
                  <a:gd name="connsiteX0" fmla="*/ 0 w 29846"/>
                  <a:gd name="connsiteY0" fmla="*/ 0 h 313017"/>
                  <a:gd name="connsiteX1" fmla="*/ 29846 w 29846"/>
                  <a:gd name="connsiteY1" fmla="*/ 0 h 313017"/>
                  <a:gd name="connsiteX2" fmla="*/ 29846 w 29846"/>
                  <a:gd name="connsiteY2" fmla="*/ 313017 h 313017"/>
                  <a:gd name="connsiteX3" fmla="*/ 0 w 29846"/>
                  <a:gd name="connsiteY3" fmla="*/ 313017 h 313017"/>
                  <a:gd name="connsiteX4" fmla="*/ 0 w 29846"/>
                  <a:gd name="connsiteY4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46" h="313017">
                    <a:moveTo>
                      <a:pt x="0" y="0"/>
                    </a:moveTo>
                    <a:lnTo>
                      <a:pt x="29846" y="0"/>
                    </a:lnTo>
                    <a:lnTo>
                      <a:pt x="29846" y="313017"/>
                    </a:lnTo>
                    <a:lnTo>
                      <a:pt x="0" y="3130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00E2C72-C998-4964-BCA3-0BEB09617002}"/>
                  </a:ext>
                </a:extLst>
              </p:cNvPr>
              <p:cNvSpPr/>
              <p:nvPr/>
            </p:nvSpPr>
            <p:spPr>
              <a:xfrm>
                <a:off x="4093502" y="1752637"/>
                <a:ext cx="183830" cy="226447"/>
              </a:xfrm>
              <a:custGeom>
                <a:avLst/>
                <a:gdLst>
                  <a:gd name="connsiteX0" fmla="*/ 0 w 183830"/>
                  <a:gd name="connsiteY0" fmla="*/ 0 h 226447"/>
                  <a:gd name="connsiteX1" fmla="*/ 27619 w 183830"/>
                  <a:gd name="connsiteY1" fmla="*/ 0 h 226447"/>
                  <a:gd name="connsiteX2" fmla="*/ 27619 w 183830"/>
                  <a:gd name="connsiteY2" fmla="*/ 39053 h 226447"/>
                  <a:gd name="connsiteX3" fmla="*/ 28510 w 183830"/>
                  <a:gd name="connsiteY3" fmla="*/ 39053 h 226447"/>
                  <a:gd name="connsiteX4" fmla="*/ 39647 w 183830"/>
                  <a:gd name="connsiteY4" fmla="*/ 20492 h 226447"/>
                  <a:gd name="connsiteX5" fmla="*/ 56575 w 183830"/>
                  <a:gd name="connsiteY5" fmla="*/ 6088 h 226447"/>
                  <a:gd name="connsiteX6" fmla="*/ 77661 w 183830"/>
                  <a:gd name="connsiteY6" fmla="*/ 148 h 226447"/>
                  <a:gd name="connsiteX7" fmla="*/ 100825 w 183830"/>
                  <a:gd name="connsiteY7" fmla="*/ 148 h 226447"/>
                  <a:gd name="connsiteX8" fmla="*/ 140472 w 183830"/>
                  <a:gd name="connsiteY8" fmla="*/ 6088 h 226447"/>
                  <a:gd name="connsiteX9" fmla="*/ 166161 w 183830"/>
                  <a:gd name="connsiteY9" fmla="*/ 22867 h 226447"/>
                  <a:gd name="connsiteX10" fmla="*/ 179822 w 183830"/>
                  <a:gd name="connsiteY10" fmla="*/ 49447 h 226447"/>
                  <a:gd name="connsiteX11" fmla="*/ 183831 w 183830"/>
                  <a:gd name="connsiteY11" fmla="*/ 84788 h 226447"/>
                  <a:gd name="connsiteX12" fmla="*/ 183831 w 183830"/>
                  <a:gd name="connsiteY12" fmla="*/ 226299 h 226447"/>
                  <a:gd name="connsiteX13" fmla="*/ 156212 w 183830"/>
                  <a:gd name="connsiteY13" fmla="*/ 226299 h 226447"/>
                  <a:gd name="connsiteX14" fmla="*/ 156212 w 183830"/>
                  <a:gd name="connsiteY14" fmla="*/ 89540 h 226447"/>
                  <a:gd name="connsiteX15" fmla="*/ 153539 w 183830"/>
                  <a:gd name="connsiteY15" fmla="*/ 63405 h 226447"/>
                  <a:gd name="connsiteX16" fmla="*/ 144332 w 183830"/>
                  <a:gd name="connsiteY16" fmla="*/ 42320 h 226447"/>
                  <a:gd name="connsiteX17" fmla="*/ 126514 w 183830"/>
                  <a:gd name="connsiteY17" fmla="*/ 28362 h 226447"/>
                  <a:gd name="connsiteX18" fmla="*/ 98597 w 183830"/>
                  <a:gd name="connsiteY18" fmla="*/ 23313 h 226447"/>
                  <a:gd name="connsiteX19" fmla="*/ 69048 w 183830"/>
                  <a:gd name="connsiteY19" fmla="*/ 29104 h 226447"/>
                  <a:gd name="connsiteX20" fmla="*/ 46923 w 183830"/>
                  <a:gd name="connsiteY20" fmla="*/ 44844 h 226447"/>
                  <a:gd name="connsiteX21" fmla="*/ 32965 w 183830"/>
                  <a:gd name="connsiteY21" fmla="*/ 68602 h 226447"/>
                  <a:gd name="connsiteX22" fmla="*/ 27768 w 183830"/>
                  <a:gd name="connsiteY22" fmla="*/ 98597 h 226447"/>
                  <a:gd name="connsiteX23" fmla="*/ 27768 w 183830"/>
                  <a:gd name="connsiteY23" fmla="*/ 226447 h 226447"/>
                  <a:gd name="connsiteX24" fmla="*/ 149 w 183830"/>
                  <a:gd name="connsiteY24" fmla="*/ 226447 h 226447"/>
                  <a:gd name="connsiteX25" fmla="*/ 149 w 183830"/>
                  <a:gd name="connsiteY25" fmla="*/ 0 h 22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3830" h="22644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39053"/>
                    </a:lnTo>
                    <a:lnTo>
                      <a:pt x="28510" y="39053"/>
                    </a:lnTo>
                    <a:cubicBezTo>
                      <a:pt x="31183" y="32371"/>
                      <a:pt x="34895" y="26134"/>
                      <a:pt x="39647" y="20492"/>
                    </a:cubicBezTo>
                    <a:cubicBezTo>
                      <a:pt x="44547" y="14849"/>
                      <a:pt x="50041" y="9949"/>
                      <a:pt x="56575" y="6088"/>
                    </a:cubicBezTo>
                    <a:cubicBezTo>
                      <a:pt x="62960" y="2079"/>
                      <a:pt x="69939" y="148"/>
                      <a:pt x="77661" y="148"/>
                    </a:cubicBezTo>
                    <a:cubicBezTo>
                      <a:pt x="85233" y="148"/>
                      <a:pt x="92955" y="148"/>
                      <a:pt x="100825" y="148"/>
                    </a:cubicBezTo>
                    <a:cubicBezTo>
                      <a:pt x="116565" y="148"/>
                      <a:pt x="129780" y="2079"/>
                      <a:pt x="140472" y="6088"/>
                    </a:cubicBezTo>
                    <a:cubicBezTo>
                      <a:pt x="151163" y="10097"/>
                      <a:pt x="159627" y="15740"/>
                      <a:pt x="166161" y="22867"/>
                    </a:cubicBezTo>
                    <a:cubicBezTo>
                      <a:pt x="172546" y="30143"/>
                      <a:pt x="177149" y="39053"/>
                      <a:pt x="179822" y="49447"/>
                    </a:cubicBezTo>
                    <a:cubicBezTo>
                      <a:pt x="182495" y="59990"/>
                      <a:pt x="183831" y="71721"/>
                      <a:pt x="183831" y="84788"/>
                    </a:cubicBezTo>
                    <a:lnTo>
                      <a:pt x="183831" y="226299"/>
                    </a:lnTo>
                    <a:lnTo>
                      <a:pt x="156212" y="226299"/>
                    </a:lnTo>
                    <a:lnTo>
                      <a:pt x="156212" y="89540"/>
                    </a:lnTo>
                    <a:cubicBezTo>
                      <a:pt x="156212" y="80185"/>
                      <a:pt x="155321" y="71424"/>
                      <a:pt x="153539" y="63405"/>
                    </a:cubicBezTo>
                    <a:cubicBezTo>
                      <a:pt x="151757" y="55387"/>
                      <a:pt x="148639" y="48408"/>
                      <a:pt x="144332" y="42320"/>
                    </a:cubicBezTo>
                    <a:cubicBezTo>
                      <a:pt x="139878" y="36380"/>
                      <a:pt x="134087" y="31777"/>
                      <a:pt x="126514" y="28362"/>
                    </a:cubicBezTo>
                    <a:cubicBezTo>
                      <a:pt x="119089" y="24946"/>
                      <a:pt x="109734" y="23313"/>
                      <a:pt x="98597" y="23313"/>
                    </a:cubicBezTo>
                    <a:cubicBezTo>
                      <a:pt x="87461" y="23313"/>
                      <a:pt x="77661" y="25243"/>
                      <a:pt x="69048" y="29104"/>
                    </a:cubicBezTo>
                    <a:cubicBezTo>
                      <a:pt x="60436" y="32965"/>
                      <a:pt x="53011" y="38162"/>
                      <a:pt x="46923" y="44844"/>
                    </a:cubicBezTo>
                    <a:cubicBezTo>
                      <a:pt x="40835" y="51526"/>
                      <a:pt x="36083" y="59396"/>
                      <a:pt x="32965" y="68602"/>
                    </a:cubicBezTo>
                    <a:cubicBezTo>
                      <a:pt x="29698" y="77809"/>
                      <a:pt x="27916" y="87758"/>
                      <a:pt x="27768" y="98597"/>
                    </a:cubicBezTo>
                    <a:lnTo>
                      <a:pt x="27768" y="226447"/>
                    </a:lnTo>
                    <a:lnTo>
                      <a:pt x="149" y="226447"/>
                    </a:lnTo>
                    <a:lnTo>
                      <a:pt x="149" y="0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A302E21-C49D-4887-94D7-597AB72390D2}"/>
                  </a:ext>
                </a:extLst>
              </p:cNvPr>
              <p:cNvSpPr/>
              <p:nvPr/>
            </p:nvSpPr>
            <p:spPr>
              <a:xfrm>
                <a:off x="4316682" y="1745807"/>
                <a:ext cx="183682" cy="239514"/>
              </a:xfrm>
              <a:custGeom>
                <a:avLst/>
                <a:gdLst>
                  <a:gd name="connsiteX0" fmla="*/ 148193 w 183682"/>
                  <a:gd name="connsiteY0" fmla="*/ 73057 h 239514"/>
                  <a:gd name="connsiteX1" fmla="*/ 142996 w 183682"/>
                  <a:gd name="connsiteY1" fmla="*/ 50932 h 239514"/>
                  <a:gd name="connsiteX2" fmla="*/ 130078 w 183682"/>
                  <a:gd name="connsiteY2" fmla="*/ 35341 h 239514"/>
                  <a:gd name="connsiteX3" fmla="*/ 111516 w 183682"/>
                  <a:gd name="connsiteY3" fmla="*/ 26283 h 239514"/>
                  <a:gd name="connsiteX4" fmla="*/ 89094 w 183682"/>
                  <a:gd name="connsiteY4" fmla="*/ 23461 h 239514"/>
                  <a:gd name="connsiteX5" fmla="*/ 70533 w 183682"/>
                  <a:gd name="connsiteY5" fmla="*/ 25392 h 239514"/>
                  <a:gd name="connsiteX6" fmla="*/ 53160 w 183682"/>
                  <a:gd name="connsiteY6" fmla="*/ 31925 h 239514"/>
                  <a:gd name="connsiteX7" fmla="*/ 40389 w 183682"/>
                  <a:gd name="connsiteY7" fmla="*/ 43953 h 239514"/>
                  <a:gd name="connsiteX8" fmla="*/ 35638 w 183682"/>
                  <a:gd name="connsiteY8" fmla="*/ 62366 h 239514"/>
                  <a:gd name="connsiteX9" fmla="*/ 40241 w 183682"/>
                  <a:gd name="connsiteY9" fmla="*/ 77957 h 239514"/>
                  <a:gd name="connsiteX10" fmla="*/ 51823 w 183682"/>
                  <a:gd name="connsiteY10" fmla="*/ 88649 h 239514"/>
                  <a:gd name="connsiteX11" fmla="*/ 67118 w 183682"/>
                  <a:gd name="connsiteY11" fmla="*/ 95925 h 239514"/>
                  <a:gd name="connsiteX12" fmla="*/ 82412 w 183682"/>
                  <a:gd name="connsiteY12" fmla="*/ 100528 h 239514"/>
                  <a:gd name="connsiteX13" fmla="*/ 119238 w 183682"/>
                  <a:gd name="connsiteY13" fmla="*/ 108843 h 239514"/>
                  <a:gd name="connsiteX14" fmla="*/ 142699 w 183682"/>
                  <a:gd name="connsiteY14" fmla="*/ 115228 h 239514"/>
                  <a:gd name="connsiteX15" fmla="*/ 163339 w 183682"/>
                  <a:gd name="connsiteY15" fmla="*/ 127256 h 239514"/>
                  <a:gd name="connsiteX16" fmla="*/ 178040 w 183682"/>
                  <a:gd name="connsiteY16" fmla="*/ 145669 h 239514"/>
                  <a:gd name="connsiteX17" fmla="*/ 183682 w 183682"/>
                  <a:gd name="connsiteY17" fmla="*/ 171506 h 239514"/>
                  <a:gd name="connsiteX18" fmla="*/ 175367 w 183682"/>
                  <a:gd name="connsiteY18" fmla="*/ 202838 h 239514"/>
                  <a:gd name="connsiteX19" fmla="*/ 154133 w 183682"/>
                  <a:gd name="connsiteY19" fmla="*/ 223923 h 239514"/>
                  <a:gd name="connsiteX20" fmla="*/ 125029 w 183682"/>
                  <a:gd name="connsiteY20" fmla="*/ 235802 h 239514"/>
                  <a:gd name="connsiteX21" fmla="*/ 92955 w 183682"/>
                  <a:gd name="connsiteY21" fmla="*/ 239515 h 239514"/>
                  <a:gd name="connsiteX22" fmla="*/ 28213 w 183682"/>
                  <a:gd name="connsiteY22" fmla="*/ 220359 h 239514"/>
                  <a:gd name="connsiteX23" fmla="*/ 0 w 183682"/>
                  <a:gd name="connsiteY23" fmla="*/ 159627 h 239514"/>
                  <a:gd name="connsiteX24" fmla="*/ 27619 w 183682"/>
                  <a:gd name="connsiteY24" fmla="*/ 159627 h 239514"/>
                  <a:gd name="connsiteX25" fmla="*/ 47962 w 183682"/>
                  <a:gd name="connsiteY25" fmla="*/ 201947 h 239514"/>
                  <a:gd name="connsiteX26" fmla="*/ 94291 w 183682"/>
                  <a:gd name="connsiteY26" fmla="*/ 216202 h 239514"/>
                  <a:gd name="connsiteX27" fmla="*/ 114931 w 183682"/>
                  <a:gd name="connsiteY27" fmla="*/ 213974 h 239514"/>
                  <a:gd name="connsiteX28" fmla="*/ 135126 w 183682"/>
                  <a:gd name="connsiteY28" fmla="*/ 206550 h 239514"/>
                  <a:gd name="connsiteX29" fmla="*/ 150272 w 183682"/>
                  <a:gd name="connsiteY29" fmla="*/ 193186 h 239514"/>
                  <a:gd name="connsiteX30" fmla="*/ 156212 w 183682"/>
                  <a:gd name="connsiteY30" fmla="*/ 173288 h 239514"/>
                  <a:gd name="connsiteX31" fmla="*/ 152054 w 183682"/>
                  <a:gd name="connsiteY31" fmla="*/ 156657 h 239514"/>
                  <a:gd name="connsiteX32" fmla="*/ 140917 w 183682"/>
                  <a:gd name="connsiteY32" fmla="*/ 145075 h 239514"/>
                  <a:gd name="connsiteX33" fmla="*/ 124880 w 183682"/>
                  <a:gd name="connsiteY33" fmla="*/ 137353 h 239514"/>
                  <a:gd name="connsiteX34" fmla="*/ 106616 w 183682"/>
                  <a:gd name="connsiteY34" fmla="*/ 132156 h 239514"/>
                  <a:gd name="connsiteX35" fmla="*/ 71127 w 183682"/>
                  <a:gd name="connsiteY35" fmla="*/ 124286 h 239514"/>
                  <a:gd name="connsiteX36" fmla="*/ 46180 w 183682"/>
                  <a:gd name="connsiteY36" fmla="*/ 116119 h 239514"/>
                  <a:gd name="connsiteX37" fmla="*/ 26283 w 183682"/>
                  <a:gd name="connsiteY37" fmla="*/ 104686 h 239514"/>
                  <a:gd name="connsiteX38" fmla="*/ 12919 w 183682"/>
                  <a:gd name="connsiteY38" fmla="*/ 88055 h 239514"/>
                  <a:gd name="connsiteX39" fmla="*/ 8167 w 183682"/>
                  <a:gd name="connsiteY39" fmla="*/ 63702 h 239514"/>
                  <a:gd name="connsiteX40" fmla="*/ 15889 w 183682"/>
                  <a:gd name="connsiteY40" fmla="*/ 34301 h 239514"/>
                  <a:gd name="connsiteX41" fmla="*/ 35786 w 183682"/>
                  <a:gd name="connsiteY41" fmla="*/ 14552 h 239514"/>
                  <a:gd name="connsiteX42" fmla="*/ 63257 w 183682"/>
                  <a:gd name="connsiteY42" fmla="*/ 3564 h 239514"/>
                  <a:gd name="connsiteX43" fmla="*/ 93252 w 183682"/>
                  <a:gd name="connsiteY43" fmla="*/ 0 h 239514"/>
                  <a:gd name="connsiteX44" fmla="*/ 125029 w 183682"/>
                  <a:gd name="connsiteY44" fmla="*/ 4306 h 239514"/>
                  <a:gd name="connsiteX45" fmla="*/ 150866 w 183682"/>
                  <a:gd name="connsiteY45" fmla="*/ 17967 h 239514"/>
                  <a:gd name="connsiteX46" fmla="*/ 168685 w 183682"/>
                  <a:gd name="connsiteY46" fmla="*/ 40835 h 239514"/>
                  <a:gd name="connsiteX47" fmla="*/ 176109 w 183682"/>
                  <a:gd name="connsiteY47" fmla="*/ 72909 h 239514"/>
                  <a:gd name="connsiteX48" fmla="*/ 148193 w 183682"/>
                  <a:gd name="connsiteY48" fmla="*/ 72909 h 239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83682" h="239514">
                    <a:moveTo>
                      <a:pt x="148193" y="73057"/>
                    </a:moveTo>
                    <a:cubicBezTo>
                      <a:pt x="147896" y="64593"/>
                      <a:pt x="146114" y="57169"/>
                      <a:pt x="142996" y="50932"/>
                    </a:cubicBezTo>
                    <a:cubicBezTo>
                      <a:pt x="139729" y="44696"/>
                      <a:pt x="135423" y="39498"/>
                      <a:pt x="130078" y="35341"/>
                    </a:cubicBezTo>
                    <a:cubicBezTo>
                      <a:pt x="124732" y="31183"/>
                      <a:pt x="118495" y="28213"/>
                      <a:pt x="111516" y="26283"/>
                    </a:cubicBezTo>
                    <a:cubicBezTo>
                      <a:pt x="104537" y="24352"/>
                      <a:pt x="97113" y="23461"/>
                      <a:pt x="89094" y="23461"/>
                    </a:cubicBezTo>
                    <a:cubicBezTo>
                      <a:pt x="83006" y="23461"/>
                      <a:pt x="76770" y="24055"/>
                      <a:pt x="70533" y="25392"/>
                    </a:cubicBezTo>
                    <a:cubicBezTo>
                      <a:pt x="64296" y="26728"/>
                      <a:pt x="58505" y="28956"/>
                      <a:pt x="53160" y="31925"/>
                    </a:cubicBezTo>
                    <a:cubicBezTo>
                      <a:pt x="47962" y="35044"/>
                      <a:pt x="43656" y="39053"/>
                      <a:pt x="40389" y="43953"/>
                    </a:cubicBezTo>
                    <a:cubicBezTo>
                      <a:pt x="37123" y="48853"/>
                      <a:pt x="35638" y="55090"/>
                      <a:pt x="35638" y="62366"/>
                    </a:cubicBezTo>
                    <a:cubicBezTo>
                      <a:pt x="35638" y="68454"/>
                      <a:pt x="37123" y="73651"/>
                      <a:pt x="40241" y="77957"/>
                    </a:cubicBezTo>
                    <a:cubicBezTo>
                      <a:pt x="43359" y="82264"/>
                      <a:pt x="47220" y="85827"/>
                      <a:pt x="51823" y="88649"/>
                    </a:cubicBezTo>
                    <a:cubicBezTo>
                      <a:pt x="56426" y="91618"/>
                      <a:pt x="61624" y="93994"/>
                      <a:pt x="67118" y="95925"/>
                    </a:cubicBezTo>
                    <a:cubicBezTo>
                      <a:pt x="72612" y="97855"/>
                      <a:pt x="77809" y="99340"/>
                      <a:pt x="82412" y="100528"/>
                    </a:cubicBezTo>
                    <a:lnTo>
                      <a:pt x="119238" y="108843"/>
                    </a:lnTo>
                    <a:cubicBezTo>
                      <a:pt x="127108" y="110031"/>
                      <a:pt x="134978" y="112110"/>
                      <a:pt x="142699" y="115228"/>
                    </a:cubicBezTo>
                    <a:cubicBezTo>
                      <a:pt x="150421" y="118347"/>
                      <a:pt x="157251" y="122356"/>
                      <a:pt x="163339" y="127256"/>
                    </a:cubicBezTo>
                    <a:cubicBezTo>
                      <a:pt x="169279" y="132305"/>
                      <a:pt x="174179" y="138393"/>
                      <a:pt x="178040" y="145669"/>
                    </a:cubicBezTo>
                    <a:cubicBezTo>
                      <a:pt x="181900" y="152945"/>
                      <a:pt x="183682" y="161557"/>
                      <a:pt x="183682" y="171506"/>
                    </a:cubicBezTo>
                    <a:cubicBezTo>
                      <a:pt x="183682" y="183831"/>
                      <a:pt x="180861" y="194225"/>
                      <a:pt x="175367" y="202838"/>
                    </a:cubicBezTo>
                    <a:cubicBezTo>
                      <a:pt x="169873" y="211450"/>
                      <a:pt x="162745" y="218429"/>
                      <a:pt x="154133" y="223923"/>
                    </a:cubicBezTo>
                    <a:cubicBezTo>
                      <a:pt x="145520" y="229269"/>
                      <a:pt x="135720" y="233278"/>
                      <a:pt x="125029" y="235802"/>
                    </a:cubicBezTo>
                    <a:cubicBezTo>
                      <a:pt x="114189" y="238327"/>
                      <a:pt x="103498" y="239515"/>
                      <a:pt x="92955" y="239515"/>
                    </a:cubicBezTo>
                    <a:cubicBezTo>
                      <a:pt x="66375" y="239515"/>
                      <a:pt x="44844" y="233129"/>
                      <a:pt x="28213" y="220359"/>
                    </a:cubicBezTo>
                    <a:cubicBezTo>
                      <a:pt x="11731" y="207589"/>
                      <a:pt x="2227" y="187395"/>
                      <a:pt x="0" y="159627"/>
                    </a:cubicBezTo>
                    <a:lnTo>
                      <a:pt x="27619" y="159627"/>
                    </a:lnTo>
                    <a:cubicBezTo>
                      <a:pt x="28807" y="178337"/>
                      <a:pt x="35638" y="192443"/>
                      <a:pt x="47962" y="201947"/>
                    </a:cubicBezTo>
                    <a:cubicBezTo>
                      <a:pt x="60436" y="211450"/>
                      <a:pt x="75878" y="216202"/>
                      <a:pt x="94291" y="216202"/>
                    </a:cubicBezTo>
                    <a:cubicBezTo>
                      <a:pt x="100676" y="216202"/>
                      <a:pt x="107655" y="215459"/>
                      <a:pt x="114931" y="213974"/>
                    </a:cubicBezTo>
                    <a:cubicBezTo>
                      <a:pt x="122208" y="212489"/>
                      <a:pt x="128890" y="209965"/>
                      <a:pt x="135126" y="206550"/>
                    </a:cubicBezTo>
                    <a:cubicBezTo>
                      <a:pt x="141214" y="202986"/>
                      <a:pt x="146263" y="198531"/>
                      <a:pt x="150272" y="193186"/>
                    </a:cubicBezTo>
                    <a:cubicBezTo>
                      <a:pt x="154281" y="187840"/>
                      <a:pt x="156212" y="181158"/>
                      <a:pt x="156212" y="173288"/>
                    </a:cubicBezTo>
                    <a:cubicBezTo>
                      <a:pt x="156212" y="166903"/>
                      <a:pt x="154875" y="161260"/>
                      <a:pt x="152054" y="156657"/>
                    </a:cubicBezTo>
                    <a:cubicBezTo>
                      <a:pt x="149233" y="152054"/>
                      <a:pt x="145520" y="148045"/>
                      <a:pt x="140917" y="145075"/>
                    </a:cubicBezTo>
                    <a:cubicBezTo>
                      <a:pt x="136166" y="141957"/>
                      <a:pt x="130968" y="139432"/>
                      <a:pt x="124880" y="137353"/>
                    </a:cubicBezTo>
                    <a:cubicBezTo>
                      <a:pt x="118941" y="135275"/>
                      <a:pt x="112853" y="133493"/>
                      <a:pt x="106616" y="132156"/>
                    </a:cubicBezTo>
                    <a:lnTo>
                      <a:pt x="71127" y="124286"/>
                    </a:lnTo>
                    <a:cubicBezTo>
                      <a:pt x="62069" y="121910"/>
                      <a:pt x="53754" y="119238"/>
                      <a:pt x="46180" y="116119"/>
                    </a:cubicBezTo>
                    <a:cubicBezTo>
                      <a:pt x="38608" y="113001"/>
                      <a:pt x="31926" y="109289"/>
                      <a:pt x="26283" y="104686"/>
                    </a:cubicBezTo>
                    <a:cubicBezTo>
                      <a:pt x="20640" y="100231"/>
                      <a:pt x="16186" y="94588"/>
                      <a:pt x="12919" y="88055"/>
                    </a:cubicBezTo>
                    <a:cubicBezTo>
                      <a:pt x="9652" y="81521"/>
                      <a:pt x="8167" y="73354"/>
                      <a:pt x="8167" y="63702"/>
                    </a:cubicBezTo>
                    <a:cubicBezTo>
                      <a:pt x="8167" y="52269"/>
                      <a:pt x="10691" y="42468"/>
                      <a:pt x="15889" y="34301"/>
                    </a:cubicBezTo>
                    <a:cubicBezTo>
                      <a:pt x="20937" y="26134"/>
                      <a:pt x="27619" y="19601"/>
                      <a:pt x="35786" y="14552"/>
                    </a:cubicBezTo>
                    <a:cubicBezTo>
                      <a:pt x="43953" y="9652"/>
                      <a:pt x="53160" y="5940"/>
                      <a:pt x="63257" y="3564"/>
                    </a:cubicBezTo>
                    <a:cubicBezTo>
                      <a:pt x="73354" y="1188"/>
                      <a:pt x="83303" y="0"/>
                      <a:pt x="93252" y="0"/>
                    </a:cubicBezTo>
                    <a:cubicBezTo>
                      <a:pt x="104686" y="0"/>
                      <a:pt x="115229" y="1485"/>
                      <a:pt x="125029" y="4306"/>
                    </a:cubicBezTo>
                    <a:cubicBezTo>
                      <a:pt x="134829" y="7276"/>
                      <a:pt x="143442" y="11731"/>
                      <a:pt x="150866" y="17967"/>
                    </a:cubicBezTo>
                    <a:cubicBezTo>
                      <a:pt x="158291" y="24055"/>
                      <a:pt x="164230" y="31628"/>
                      <a:pt x="168685" y="40835"/>
                    </a:cubicBezTo>
                    <a:cubicBezTo>
                      <a:pt x="172991" y="49893"/>
                      <a:pt x="175515" y="60584"/>
                      <a:pt x="176109" y="72909"/>
                    </a:cubicBezTo>
                    <a:lnTo>
                      <a:pt x="148193" y="7290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2FAE6942-9DBE-495A-9033-8360395B8433}"/>
                  </a:ext>
                </a:extLst>
              </p:cNvPr>
              <p:cNvSpPr/>
              <p:nvPr/>
            </p:nvSpPr>
            <p:spPr>
              <a:xfrm>
                <a:off x="4516699" y="1684629"/>
                <a:ext cx="113446" cy="294307"/>
              </a:xfrm>
              <a:custGeom>
                <a:avLst/>
                <a:gdLst>
                  <a:gd name="connsiteX0" fmla="*/ 67415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5 w 113446"/>
                  <a:gd name="connsiteY3" fmla="*/ 91321 h 294307"/>
                  <a:gd name="connsiteX4" fmla="*/ 67415 w 113446"/>
                  <a:gd name="connsiteY4" fmla="*/ 241742 h 294307"/>
                  <a:gd name="connsiteX5" fmla="*/ 71127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8 w 113446"/>
                  <a:gd name="connsiteY18" fmla="*/ 0 h 294307"/>
                  <a:gd name="connsiteX19" fmla="*/ 67118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5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5" y="91321"/>
                    </a:lnTo>
                    <a:lnTo>
                      <a:pt x="67415" y="241742"/>
                    </a:lnTo>
                    <a:cubicBezTo>
                      <a:pt x="67415" y="250651"/>
                      <a:pt x="68603" y="257630"/>
                      <a:pt x="71127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6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8" y="0"/>
                    </a:lnTo>
                    <a:lnTo>
                      <a:pt x="67118" y="6800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A04CF3F5-0644-4C6A-A5C5-3291ED0EAFF8}"/>
                  </a:ext>
                </a:extLst>
              </p:cNvPr>
              <p:cNvSpPr/>
              <p:nvPr/>
            </p:nvSpPr>
            <p:spPr>
              <a:xfrm>
                <a:off x="4670386" y="1665919"/>
                <a:ext cx="27618" cy="313017"/>
              </a:xfrm>
              <a:custGeom>
                <a:avLst/>
                <a:gdLst>
                  <a:gd name="connsiteX0" fmla="*/ 0 w 27618"/>
                  <a:gd name="connsiteY0" fmla="*/ 0 h 313017"/>
                  <a:gd name="connsiteX1" fmla="*/ 27619 w 27618"/>
                  <a:gd name="connsiteY1" fmla="*/ 0 h 313017"/>
                  <a:gd name="connsiteX2" fmla="*/ 27619 w 27618"/>
                  <a:gd name="connsiteY2" fmla="*/ 44250 h 313017"/>
                  <a:gd name="connsiteX3" fmla="*/ 0 w 27618"/>
                  <a:gd name="connsiteY3" fmla="*/ 44250 h 313017"/>
                  <a:gd name="connsiteX4" fmla="*/ 0 w 27618"/>
                  <a:gd name="connsiteY4" fmla="*/ 0 h 313017"/>
                  <a:gd name="connsiteX5" fmla="*/ 0 w 27618"/>
                  <a:gd name="connsiteY5" fmla="*/ 86718 h 313017"/>
                  <a:gd name="connsiteX6" fmla="*/ 27619 w 27618"/>
                  <a:gd name="connsiteY6" fmla="*/ 86718 h 313017"/>
                  <a:gd name="connsiteX7" fmla="*/ 27619 w 27618"/>
                  <a:gd name="connsiteY7" fmla="*/ 313017 h 313017"/>
                  <a:gd name="connsiteX8" fmla="*/ 0 w 27618"/>
                  <a:gd name="connsiteY8" fmla="*/ 313017 h 313017"/>
                  <a:gd name="connsiteX9" fmla="*/ 0 w 27618"/>
                  <a:gd name="connsiteY9" fmla="*/ 86718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18" h="31301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44250"/>
                    </a:lnTo>
                    <a:lnTo>
                      <a:pt x="0" y="44250"/>
                    </a:lnTo>
                    <a:lnTo>
                      <a:pt x="0" y="0"/>
                    </a:lnTo>
                    <a:close/>
                    <a:moveTo>
                      <a:pt x="0" y="86718"/>
                    </a:moveTo>
                    <a:lnTo>
                      <a:pt x="27619" y="86718"/>
                    </a:lnTo>
                    <a:lnTo>
                      <a:pt x="27619" y="313017"/>
                    </a:lnTo>
                    <a:lnTo>
                      <a:pt x="0" y="313017"/>
                    </a:lnTo>
                    <a:lnTo>
                      <a:pt x="0" y="86718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FC2DE0DD-DC1C-416B-A134-263096569B4F}"/>
                  </a:ext>
                </a:extLst>
              </p:cNvPr>
              <p:cNvSpPr/>
              <p:nvPr/>
            </p:nvSpPr>
            <p:spPr>
              <a:xfrm>
                <a:off x="4742404" y="1684629"/>
                <a:ext cx="113446" cy="294307"/>
              </a:xfrm>
              <a:custGeom>
                <a:avLst/>
                <a:gdLst>
                  <a:gd name="connsiteX0" fmla="*/ 67414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4 w 113446"/>
                  <a:gd name="connsiteY3" fmla="*/ 91321 h 294307"/>
                  <a:gd name="connsiteX4" fmla="*/ 67414 w 113446"/>
                  <a:gd name="connsiteY4" fmla="*/ 241742 h 294307"/>
                  <a:gd name="connsiteX5" fmla="*/ 71126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7 w 113446"/>
                  <a:gd name="connsiteY18" fmla="*/ 0 h 294307"/>
                  <a:gd name="connsiteX19" fmla="*/ 67117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4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4" y="91321"/>
                    </a:lnTo>
                    <a:lnTo>
                      <a:pt x="67414" y="241742"/>
                    </a:lnTo>
                    <a:cubicBezTo>
                      <a:pt x="67414" y="250651"/>
                      <a:pt x="68602" y="257630"/>
                      <a:pt x="71126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5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7" y="0"/>
                    </a:lnTo>
                    <a:lnTo>
                      <a:pt x="67117" y="6800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370D4076-E8FD-4CD7-A56F-12B11CF1B091}"/>
                  </a:ext>
                </a:extLst>
              </p:cNvPr>
              <p:cNvSpPr/>
              <p:nvPr/>
            </p:nvSpPr>
            <p:spPr>
              <a:xfrm>
                <a:off x="4880648" y="1752637"/>
                <a:ext cx="183830" cy="226298"/>
              </a:xfrm>
              <a:custGeom>
                <a:avLst/>
                <a:gdLst>
                  <a:gd name="connsiteX0" fmla="*/ 183534 w 183830"/>
                  <a:gd name="connsiteY0" fmla="*/ 226299 h 226298"/>
                  <a:gd name="connsiteX1" fmla="*/ 158142 w 183830"/>
                  <a:gd name="connsiteY1" fmla="*/ 226299 h 226298"/>
                  <a:gd name="connsiteX2" fmla="*/ 158142 w 183830"/>
                  <a:gd name="connsiteY2" fmla="*/ 185464 h 226298"/>
                  <a:gd name="connsiteX3" fmla="*/ 157251 w 183830"/>
                  <a:gd name="connsiteY3" fmla="*/ 185464 h 226298"/>
                  <a:gd name="connsiteX4" fmla="*/ 125474 w 183830"/>
                  <a:gd name="connsiteY4" fmla="*/ 217241 h 226298"/>
                  <a:gd name="connsiteX5" fmla="*/ 79294 w 183830"/>
                  <a:gd name="connsiteY5" fmla="*/ 226299 h 226298"/>
                  <a:gd name="connsiteX6" fmla="*/ 42617 w 183830"/>
                  <a:gd name="connsiteY6" fmla="*/ 220508 h 226298"/>
                  <a:gd name="connsiteX7" fmla="*/ 18116 w 183830"/>
                  <a:gd name="connsiteY7" fmla="*/ 203877 h 226298"/>
                  <a:gd name="connsiteX8" fmla="*/ 4306 w 183830"/>
                  <a:gd name="connsiteY8" fmla="*/ 177446 h 226298"/>
                  <a:gd name="connsiteX9" fmla="*/ 0 w 183830"/>
                  <a:gd name="connsiteY9" fmla="*/ 142699 h 226298"/>
                  <a:gd name="connsiteX10" fmla="*/ 0 w 183830"/>
                  <a:gd name="connsiteY10" fmla="*/ 0 h 226298"/>
                  <a:gd name="connsiteX11" fmla="*/ 27619 w 183830"/>
                  <a:gd name="connsiteY11" fmla="*/ 0 h 226298"/>
                  <a:gd name="connsiteX12" fmla="*/ 27619 w 183830"/>
                  <a:gd name="connsiteY12" fmla="*/ 142699 h 226298"/>
                  <a:gd name="connsiteX13" fmla="*/ 41874 w 183830"/>
                  <a:gd name="connsiteY13" fmla="*/ 187692 h 226298"/>
                  <a:gd name="connsiteX14" fmla="*/ 88203 w 183830"/>
                  <a:gd name="connsiteY14" fmla="*/ 202986 h 226298"/>
                  <a:gd name="connsiteX15" fmla="*/ 118643 w 183830"/>
                  <a:gd name="connsiteY15" fmla="*/ 195561 h 226298"/>
                  <a:gd name="connsiteX16" fmla="*/ 139877 w 183830"/>
                  <a:gd name="connsiteY16" fmla="*/ 175812 h 226298"/>
                  <a:gd name="connsiteX17" fmla="*/ 152202 w 183830"/>
                  <a:gd name="connsiteY17" fmla="*/ 147599 h 226298"/>
                  <a:gd name="connsiteX18" fmla="*/ 156211 w 183830"/>
                  <a:gd name="connsiteY18" fmla="*/ 115080 h 226298"/>
                  <a:gd name="connsiteX19" fmla="*/ 156211 w 183830"/>
                  <a:gd name="connsiteY19" fmla="*/ 0 h 226298"/>
                  <a:gd name="connsiteX20" fmla="*/ 183831 w 183830"/>
                  <a:gd name="connsiteY20" fmla="*/ 0 h 226298"/>
                  <a:gd name="connsiteX21" fmla="*/ 183831 w 183830"/>
                  <a:gd name="connsiteY21" fmla="*/ 226299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3830" h="226298">
                    <a:moveTo>
                      <a:pt x="183534" y="226299"/>
                    </a:moveTo>
                    <a:lnTo>
                      <a:pt x="158142" y="226299"/>
                    </a:lnTo>
                    <a:lnTo>
                      <a:pt x="158142" y="185464"/>
                    </a:lnTo>
                    <a:lnTo>
                      <a:pt x="157251" y="185464"/>
                    </a:lnTo>
                    <a:cubicBezTo>
                      <a:pt x="149975" y="200610"/>
                      <a:pt x="139284" y="211301"/>
                      <a:pt x="125474" y="217241"/>
                    </a:cubicBezTo>
                    <a:cubicBezTo>
                      <a:pt x="111664" y="223181"/>
                      <a:pt x="96221" y="226299"/>
                      <a:pt x="79294" y="226299"/>
                    </a:cubicBezTo>
                    <a:cubicBezTo>
                      <a:pt x="65039" y="226299"/>
                      <a:pt x="52714" y="224369"/>
                      <a:pt x="42617" y="220508"/>
                    </a:cubicBezTo>
                    <a:cubicBezTo>
                      <a:pt x="32519" y="216647"/>
                      <a:pt x="24352" y="211153"/>
                      <a:pt x="18116" y="203877"/>
                    </a:cubicBezTo>
                    <a:cubicBezTo>
                      <a:pt x="11879" y="196601"/>
                      <a:pt x="7276" y="187840"/>
                      <a:pt x="4306" y="177446"/>
                    </a:cubicBezTo>
                    <a:cubicBezTo>
                      <a:pt x="1336" y="167051"/>
                      <a:pt x="0" y="155469"/>
                      <a:pt x="0" y="142699"/>
                    </a:cubicBezTo>
                    <a:lnTo>
                      <a:pt x="0" y="0"/>
                    </a:lnTo>
                    <a:lnTo>
                      <a:pt x="27619" y="0"/>
                    </a:lnTo>
                    <a:lnTo>
                      <a:pt x="27619" y="142699"/>
                    </a:lnTo>
                    <a:cubicBezTo>
                      <a:pt x="28213" y="162448"/>
                      <a:pt x="32965" y="177594"/>
                      <a:pt x="41874" y="187692"/>
                    </a:cubicBezTo>
                    <a:cubicBezTo>
                      <a:pt x="50783" y="197937"/>
                      <a:pt x="66226" y="202986"/>
                      <a:pt x="88203" y="202986"/>
                    </a:cubicBezTo>
                    <a:cubicBezTo>
                      <a:pt x="99934" y="202986"/>
                      <a:pt x="110031" y="200462"/>
                      <a:pt x="118643" y="195561"/>
                    </a:cubicBezTo>
                    <a:cubicBezTo>
                      <a:pt x="127256" y="190661"/>
                      <a:pt x="134383" y="183979"/>
                      <a:pt x="139877" y="175812"/>
                    </a:cubicBezTo>
                    <a:cubicBezTo>
                      <a:pt x="145372" y="167645"/>
                      <a:pt x="149530" y="158142"/>
                      <a:pt x="152202" y="147599"/>
                    </a:cubicBezTo>
                    <a:cubicBezTo>
                      <a:pt x="154875" y="136908"/>
                      <a:pt x="156211" y="126217"/>
                      <a:pt x="156211" y="115080"/>
                    </a:cubicBezTo>
                    <a:lnTo>
                      <a:pt x="156211" y="0"/>
                    </a:lnTo>
                    <a:lnTo>
                      <a:pt x="183831" y="0"/>
                    </a:lnTo>
                    <a:lnTo>
                      <a:pt x="183831" y="22629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432F7DDA-C5FF-4086-8B68-0535D0E4B64D}"/>
                  </a:ext>
                </a:extLst>
              </p:cNvPr>
              <p:cNvSpPr/>
              <p:nvPr/>
            </p:nvSpPr>
            <p:spPr>
              <a:xfrm>
                <a:off x="5092692" y="1684629"/>
                <a:ext cx="113446" cy="294307"/>
              </a:xfrm>
              <a:custGeom>
                <a:avLst/>
                <a:gdLst>
                  <a:gd name="connsiteX0" fmla="*/ 67415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5 w 113446"/>
                  <a:gd name="connsiteY3" fmla="*/ 91321 h 294307"/>
                  <a:gd name="connsiteX4" fmla="*/ 67415 w 113446"/>
                  <a:gd name="connsiteY4" fmla="*/ 241742 h 294307"/>
                  <a:gd name="connsiteX5" fmla="*/ 71127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7 w 113446"/>
                  <a:gd name="connsiteY18" fmla="*/ 0 h 294307"/>
                  <a:gd name="connsiteX19" fmla="*/ 67117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5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5" y="91321"/>
                    </a:lnTo>
                    <a:lnTo>
                      <a:pt x="67415" y="241742"/>
                    </a:lnTo>
                    <a:cubicBezTo>
                      <a:pt x="67415" y="250651"/>
                      <a:pt x="68602" y="257630"/>
                      <a:pt x="71127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5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7" y="0"/>
                    </a:lnTo>
                    <a:lnTo>
                      <a:pt x="67117" y="68009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E671130A-1F6E-45C2-A878-9A626C8E2483}"/>
                  </a:ext>
                </a:extLst>
              </p:cNvPr>
              <p:cNvSpPr/>
              <p:nvPr/>
            </p:nvSpPr>
            <p:spPr>
              <a:xfrm>
                <a:off x="5234500" y="1752489"/>
                <a:ext cx="201934" cy="226298"/>
              </a:xfrm>
              <a:custGeom>
                <a:avLst/>
                <a:gdLst>
                  <a:gd name="connsiteX0" fmla="*/ 27768 w 201934"/>
                  <a:gd name="connsiteY0" fmla="*/ 120722 h 226298"/>
                  <a:gd name="connsiteX1" fmla="*/ 32074 w 201934"/>
                  <a:gd name="connsiteY1" fmla="*/ 149530 h 226298"/>
                  <a:gd name="connsiteX2" fmla="*/ 45290 w 201934"/>
                  <a:gd name="connsiteY2" fmla="*/ 175961 h 226298"/>
                  <a:gd name="connsiteX3" fmla="*/ 68306 w 201934"/>
                  <a:gd name="connsiteY3" fmla="*/ 195413 h 226298"/>
                  <a:gd name="connsiteX4" fmla="*/ 102310 w 201934"/>
                  <a:gd name="connsiteY4" fmla="*/ 203134 h 226298"/>
                  <a:gd name="connsiteX5" fmla="*/ 149678 w 201934"/>
                  <a:gd name="connsiteY5" fmla="*/ 187098 h 226298"/>
                  <a:gd name="connsiteX6" fmla="*/ 173288 w 201934"/>
                  <a:gd name="connsiteY6" fmla="*/ 145223 h 226298"/>
                  <a:gd name="connsiteX7" fmla="*/ 200907 w 201934"/>
                  <a:gd name="connsiteY7" fmla="*/ 145223 h 226298"/>
                  <a:gd name="connsiteX8" fmla="*/ 168685 w 201934"/>
                  <a:gd name="connsiteY8" fmla="*/ 205065 h 226298"/>
                  <a:gd name="connsiteX9" fmla="*/ 102310 w 201934"/>
                  <a:gd name="connsiteY9" fmla="*/ 226299 h 226298"/>
                  <a:gd name="connsiteX10" fmla="*/ 55832 w 201934"/>
                  <a:gd name="connsiteY10" fmla="*/ 217241 h 226298"/>
                  <a:gd name="connsiteX11" fmla="*/ 24204 w 201934"/>
                  <a:gd name="connsiteY11" fmla="*/ 192592 h 226298"/>
                  <a:gd name="connsiteX12" fmla="*/ 5940 w 201934"/>
                  <a:gd name="connsiteY12" fmla="*/ 156509 h 226298"/>
                  <a:gd name="connsiteX13" fmla="*/ 0 w 201934"/>
                  <a:gd name="connsiteY13" fmla="*/ 113149 h 226298"/>
                  <a:gd name="connsiteX14" fmla="*/ 5940 w 201934"/>
                  <a:gd name="connsiteY14" fmla="*/ 71721 h 226298"/>
                  <a:gd name="connsiteX15" fmla="*/ 24204 w 201934"/>
                  <a:gd name="connsiteY15" fmla="*/ 35489 h 226298"/>
                  <a:gd name="connsiteX16" fmla="*/ 55832 w 201934"/>
                  <a:gd name="connsiteY16" fmla="*/ 9800 h 226298"/>
                  <a:gd name="connsiteX17" fmla="*/ 102310 w 201934"/>
                  <a:gd name="connsiteY17" fmla="*/ 0 h 226298"/>
                  <a:gd name="connsiteX18" fmla="*/ 148787 w 201934"/>
                  <a:gd name="connsiteY18" fmla="*/ 10394 h 226298"/>
                  <a:gd name="connsiteX19" fmla="*/ 180119 w 201934"/>
                  <a:gd name="connsiteY19" fmla="*/ 37568 h 226298"/>
                  <a:gd name="connsiteX20" fmla="*/ 197492 w 201934"/>
                  <a:gd name="connsiteY20" fmla="*/ 76175 h 226298"/>
                  <a:gd name="connsiteX21" fmla="*/ 201798 w 201934"/>
                  <a:gd name="connsiteY21" fmla="*/ 120425 h 226298"/>
                  <a:gd name="connsiteX22" fmla="*/ 27768 w 201934"/>
                  <a:gd name="connsiteY22" fmla="*/ 120425 h 226298"/>
                  <a:gd name="connsiteX23" fmla="*/ 174328 w 201934"/>
                  <a:gd name="connsiteY23" fmla="*/ 97558 h 226298"/>
                  <a:gd name="connsiteX24" fmla="*/ 168833 w 201934"/>
                  <a:gd name="connsiteY24" fmla="*/ 69790 h 226298"/>
                  <a:gd name="connsiteX25" fmla="*/ 154578 w 201934"/>
                  <a:gd name="connsiteY25" fmla="*/ 46180 h 226298"/>
                  <a:gd name="connsiteX26" fmla="*/ 132156 w 201934"/>
                  <a:gd name="connsiteY26" fmla="*/ 29698 h 226298"/>
                  <a:gd name="connsiteX27" fmla="*/ 102310 w 201934"/>
                  <a:gd name="connsiteY27" fmla="*/ 23461 h 226298"/>
                  <a:gd name="connsiteX28" fmla="*/ 72018 w 201934"/>
                  <a:gd name="connsiteY28" fmla="*/ 29698 h 226298"/>
                  <a:gd name="connsiteX29" fmla="*/ 49596 w 201934"/>
                  <a:gd name="connsiteY29" fmla="*/ 46180 h 226298"/>
                  <a:gd name="connsiteX30" fmla="*/ 34895 w 201934"/>
                  <a:gd name="connsiteY30" fmla="*/ 69939 h 226298"/>
                  <a:gd name="connsiteX31" fmla="*/ 27619 w 201934"/>
                  <a:gd name="connsiteY31" fmla="*/ 97558 h 226298"/>
                  <a:gd name="connsiteX32" fmla="*/ 174328 w 201934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1934" h="226298">
                    <a:moveTo>
                      <a:pt x="27768" y="120722"/>
                    </a:moveTo>
                    <a:cubicBezTo>
                      <a:pt x="27768" y="130226"/>
                      <a:pt x="29253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6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9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8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798" y="120425"/>
                    </a:cubicBezTo>
                    <a:lnTo>
                      <a:pt x="27768" y="120425"/>
                    </a:lnTo>
                    <a:close/>
                    <a:moveTo>
                      <a:pt x="174328" y="97558"/>
                    </a:moveTo>
                    <a:cubicBezTo>
                      <a:pt x="174030" y="87906"/>
                      <a:pt x="172249" y="78700"/>
                      <a:pt x="168833" y="69790"/>
                    </a:cubicBezTo>
                    <a:cubicBezTo>
                      <a:pt x="165418" y="60881"/>
                      <a:pt x="160666" y="53011"/>
                      <a:pt x="154578" y="46180"/>
                    </a:cubicBezTo>
                    <a:cubicBezTo>
                      <a:pt x="148490" y="39350"/>
                      <a:pt x="140917" y="33856"/>
                      <a:pt x="132156" y="29698"/>
                    </a:cubicBezTo>
                    <a:cubicBezTo>
                      <a:pt x="123395" y="25540"/>
                      <a:pt x="113447" y="23461"/>
                      <a:pt x="102310" y="23461"/>
                    </a:cubicBezTo>
                    <a:cubicBezTo>
                      <a:pt x="90876" y="23461"/>
                      <a:pt x="80779" y="25540"/>
                      <a:pt x="72018" y="29698"/>
                    </a:cubicBezTo>
                    <a:cubicBezTo>
                      <a:pt x="63257" y="33856"/>
                      <a:pt x="55832" y="39350"/>
                      <a:pt x="49596" y="46180"/>
                    </a:cubicBezTo>
                    <a:cubicBezTo>
                      <a:pt x="43508" y="53011"/>
                      <a:pt x="38608" y="60881"/>
                      <a:pt x="34895" y="69939"/>
                    </a:cubicBezTo>
                    <a:cubicBezTo>
                      <a:pt x="31183" y="78997"/>
                      <a:pt x="28807" y="88055"/>
                      <a:pt x="27619" y="97558"/>
                    </a:cubicBezTo>
                    <a:lnTo>
                      <a:pt x="174328" y="97558"/>
                    </a:lnTo>
                    <a:close/>
                  </a:path>
                </a:pathLst>
              </a:custGeom>
              <a:solidFill>
                <a:srgbClr val="010102"/>
              </a:solidFill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11965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03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025D8E-F272-442D-8F29-99B390C1A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0B29E9-C313-45C5-A7BD-AB380977A9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8165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55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025D8E-F272-442D-8F29-99B390C1A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9787" y="750907"/>
            <a:ext cx="10512425" cy="553998"/>
          </a:xfrm>
        </p:spPr>
        <p:txBody>
          <a:bodyPr/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0B29E9-C313-45C5-A7BD-AB380977A9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39787" y="1700213"/>
            <a:ext cx="5076826" cy="421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F55C55A-D56A-41E5-8904-CAB3BF9999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75388" y="1700213"/>
            <a:ext cx="5076823" cy="4212000"/>
          </a:xfrm>
        </p:spPr>
        <p:txBody>
          <a:bodyPr/>
          <a:lstStyle/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165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918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025D8E-F272-442D-8F29-99B390C1A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9787" y="750907"/>
            <a:ext cx="10512425" cy="553998"/>
          </a:xfrm>
        </p:spPr>
        <p:txBody>
          <a:bodyPr/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0B29E9-C313-45C5-A7BD-AB380977A9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39787" y="1700213"/>
            <a:ext cx="5076826" cy="4212000"/>
          </a:xfrm>
        </p:spPr>
        <p:txBody>
          <a:bodyPr/>
          <a:lstStyle/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FB4292D-F013-400B-BE25-A73E649E4D9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289495" y="1700213"/>
            <a:ext cx="5058557" cy="4212000"/>
          </a:xfrm>
          <a:solidFill>
            <a:schemeClr val="accent5"/>
          </a:solidFill>
        </p:spPr>
        <p:txBody>
          <a:bodyPr/>
          <a:lstStyle/>
          <a:p>
            <a:r>
              <a:rPr lang="en-GB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87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–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434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6692E61-87B9-4BB0-A785-83D6B0E12951}"/>
              </a:ext>
            </a:extLst>
          </p:cNvPr>
          <p:cNvSpPr>
            <a:spLocks/>
          </p:cNvSpPr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0B29E9-C313-45C5-A7BD-AB380977A9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31797384-358C-48EE-8BE5-37B155427F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, Calibri Light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59A32B0-E239-4C45-8FFA-9E95768B4F16}"/>
              </a:ext>
            </a:extLst>
          </p:cNvPr>
          <p:cNvSpPr txBox="1"/>
          <p:nvPr/>
        </p:nvSpPr>
        <p:spPr bwMode="gray">
          <a:xfrm>
            <a:off x="11078612" y="6518115"/>
            <a:ext cx="2736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A54156B6-5521-4373-9B35-7E6469DE7A2B}" type="slidenum">
              <a:rPr lang="en-US" sz="1200" smtClean="0">
                <a:solidFill>
                  <a:schemeClr val="tx1"/>
                </a:solidFill>
              </a:rPr>
              <a:pPr algn="r"/>
              <a:t>‹#›</a:t>
            </a:fld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15" name="Grafik 3">
            <a:extLst>
              <a:ext uri="{FF2B5EF4-FFF2-40B4-BE49-F238E27FC236}">
                <a16:creationId xmlns:a16="http://schemas.microsoft.com/office/drawing/2014/main" id="{4A51763D-84CA-4955-8E29-538E16F3A3D5}"/>
              </a:ext>
            </a:extLst>
          </p:cNvPr>
          <p:cNvGrpSpPr/>
          <p:nvPr/>
        </p:nvGrpSpPr>
        <p:grpSpPr>
          <a:xfrm>
            <a:off x="839786" y="6381524"/>
            <a:ext cx="1509434" cy="288643"/>
            <a:chOff x="839786" y="1239412"/>
            <a:chExt cx="6781274" cy="1296757"/>
          </a:xfrm>
          <a:solidFill>
            <a:schemeClr val="tx1"/>
          </a:solidFill>
        </p:grpSpPr>
        <p:grpSp>
          <p:nvGrpSpPr>
            <p:cNvPr id="16" name="Grafik 3">
              <a:extLst>
                <a:ext uri="{FF2B5EF4-FFF2-40B4-BE49-F238E27FC236}">
                  <a16:creationId xmlns:a16="http://schemas.microsoft.com/office/drawing/2014/main" id="{1A4482C7-B4C6-4726-94CB-F07D26389507}"/>
                </a:ext>
              </a:extLst>
            </p:cNvPr>
            <p:cNvGrpSpPr/>
            <p:nvPr/>
          </p:nvGrpSpPr>
          <p:grpSpPr>
            <a:xfrm>
              <a:off x="4816893" y="1239412"/>
              <a:ext cx="2804167" cy="1296757"/>
              <a:chOff x="4816893" y="1239412"/>
              <a:chExt cx="2804167" cy="1296757"/>
            </a:xfrm>
            <a:grpFill/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88932DBE-59EA-43EA-8E18-5048B47F02B2}"/>
                  </a:ext>
                </a:extLst>
              </p:cNvPr>
              <p:cNvSpPr/>
              <p:nvPr/>
            </p:nvSpPr>
            <p:spPr>
              <a:xfrm>
                <a:off x="4816893" y="1941665"/>
                <a:ext cx="2537600" cy="594504"/>
              </a:xfrm>
              <a:custGeom>
                <a:avLst/>
                <a:gdLst>
                  <a:gd name="connsiteX0" fmla="*/ 1364974 w 2537600"/>
                  <a:gd name="connsiteY0" fmla="*/ 0 h 594504"/>
                  <a:gd name="connsiteX1" fmla="*/ 3468 w 2537600"/>
                  <a:gd name="connsiteY1" fmla="*/ 126365 h 594504"/>
                  <a:gd name="connsiteX2" fmla="*/ 238528 w 2537600"/>
                  <a:gd name="connsiteY2" fmla="*/ 460468 h 594504"/>
                  <a:gd name="connsiteX3" fmla="*/ 1876820 w 2537600"/>
                  <a:gd name="connsiteY3" fmla="*/ 443094 h 594504"/>
                  <a:gd name="connsiteX4" fmla="*/ 2537601 w 2537600"/>
                  <a:gd name="connsiteY4" fmla="*/ 138690 h 594504"/>
                  <a:gd name="connsiteX5" fmla="*/ 1988187 w 2537600"/>
                  <a:gd name="connsiteY5" fmla="*/ 349100 h 594504"/>
                  <a:gd name="connsiteX6" fmla="*/ 1364974 w 2537600"/>
                  <a:gd name="connsiteY6" fmla="*/ 0 h 594504"/>
                  <a:gd name="connsiteX7" fmla="*/ 811551 w 2537600"/>
                  <a:gd name="connsiteY7" fmla="*/ 506351 h 594504"/>
                  <a:gd name="connsiteX8" fmla="*/ 1005925 w 2537600"/>
                  <a:gd name="connsiteY8" fmla="*/ 374938 h 594504"/>
                  <a:gd name="connsiteX9" fmla="*/ 1227918 w 2537600"/>
                  <a:gd name="connsiteY9" fmla="*/ 422009 h 594504"/>
                  <a:gd name="connsiteX10" fmla="*/ 811551 w 2537600"/>
                  <a:gd name="connsiteY10" fmla="*/ 506351 h 594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37600" h="594504">
                    <a:moveTo>
                      <a:pt x="1364974" y="0"/>
                    </a:moveTo>
                    <a:cubicBezTo>
                      <a:pt x="1040375" y="319402"/>
                      <a:pt x="96126" y="636429"/>
                      <a:pt x="3468" y="126365"/>
                    </a:cubicBezTo>
                    <a:cubicBezTo>
                      <a:pt x="3468" y="126365"/>
                      <a:pt x="-47167" y="334845"/>
                      <a:pt x="238528" y="460468"/>
                    </a:cubicBezTo>
                    <a:cubicBezTo>
                      <a:pt x="665882" y="648308"/>
                      <a:pt x="1278404" y="635241"/>
                      <a:pt x="1876820" y="443094"/>
                    </a:cubicBezTo>
                    <a:cubicBezTo>
                      <a:pt x="2044168" y="389341"/>
                      <a:pt x="2231563" y="309453"/>
                      <a:pt x="2537601" y="138690"/>
                    </a:cubicBezTo>
                    <a:cubicBezTo>
                      <a:pt x="2394902" y="206550"/>
                      <a:pt x="2184788" y="298465"/>
                      <a:pt x="1988187" y="349100"/>
                    </a:cubicBezTo>
                    <a:cubicBezTo>
                      <a:pt x="1661509" y="433146"/>
                      <a:pt x="1213811" y="421118"/>
                      <a:pt x="1364974" y="0"/>
                    </a:cubicBezTo>
                    <a:close/>
                    <a:moveTo>
                      <a:pt x="811551" y="506351"/>
                    </a:moveTo>
                    <a:cubicBezTo>
                      <a:pt x="803978" y="457053"/>
                      <a:pt x="890845" y="398250"/>
                      <a:pt x="1005925" y="374938"/>
                    </a:cubicBezTo>
                    <a:cubicBezTo>
                      <a:pt x="1120856" y="351625"/>
                      <a:pt x="1220345" y="372710"/>
                      <a:pt x="1227918" y="422009"/>
                    </a:cubicBezTo>
                    <a:cubicBezTo>
                      <a:pt x="1246034" y="539019"/>
                      <a:pt x="829667" y="623213"/>
                      <a:pt x="811551" y="506351"/>
                    </a:cubicBez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14A213CB-7D7F-4B34-8895-205EEF85C171}"/>
                  </a:ext>
                </a:extLst>
              </p:cNvPr>
              <p:cNvSpPr/>
              <p:nvPr/>
            </p:nvSpPr>
            <p:spPr>
              <a:xfrm>
                <a:off x="5190844" y="1239412"/>
                <a:ext cx="2430216" cy="591627"/>
              </a:xfrm>
              <a:custGeom>
                <a:avLst/>
                <a:gdLst>
                  <a:gd name="connsiteX0" fmla="*/ 1559147 w 2430216"/>
                  <a:gd name="connsiteY0" fmla="*/ 2419 h 591627"/>
                  <a:gd name="connsiteX1" fmla="*/ 0 w 2430216"/>
                  <a:gd name="connsiteY1" fmla="*/ 404085 h 591627"/>
                  <a:gd name="connsiteX2" fmla="*/ 1071060 w 2430216"/>
                  <a:gd name="connsiteY2" fmla="*/ 591628 h 591627"/>
                  <a:gd name="connsiteX3" fmla="*/ 2429150 w 2430216"/>
                  <a:gd name="connsiteY3" fmla="*/ 457244 h 591627"/>
                  <a:gd name="connsiteX4" fmla="*/ 1559147 w 2430216"/>
                  <a:gd name="connsiteY4" fmla="*/ 2419 h 591627"/>
                  <a:gd name="connsiteX5" fmla="*/ 1441394 w 2430216"/>
                  <a:gd name="connsiteY5" fmla="*/ 209563 h 591627"/>
                  <a:gd name="connsiteX6" fmla="*/ 1220292 w 2430216"/>
                  <a:gd name="connsiteY6" fmla="*/ 161007 h 591627"/>
                  <a:gd name="connsiteX7" fmla="*/ 1417042 w 2430216"/>
                  <a:gd name="connsiteY7" fmla="*/ 30929 h 591627"/>
                  <a:gd name="connsiteX8" fmla="*/ 1638144 w 2430216"/>
                  <a:gd name="connsiteY8" fmla="*/ 79485 h 591627"/>
                  <a:gd name="connsiteX9" fmla="*/ 1441394 w 2430216"/>
                  <a:gd name="connsiteY9" fmla="*/ 209563 h 591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30216" h="591627">
                    <a:moveTo>
                      <a:pt x="1559147" y="2419"/>
                    </a:moveTo>
                    <a:cubicBezTo>
                      <a:pt x="1559147" y="2419"/>
                      <a:pt x="792641" y="-56235"/>
                      <a:pt x="0" y="404085"/>
                    </a:cubicBezTo>
                    <a:cubicBezTo>
                      <a:pt x="374641" y="203772"/>
                      <a:pt x="1288152" y="43"/>
                      <a:pt x="1071060" y="591628"/>
                    </a:cubicBezTo>
                    <a:cubicBezTo>
                      <a:pt x="1401450" y="274304"/>
                      <a:pt x="2351787" y="-44949"/>
                      <a:pt x="2429150" y="457244"/>
                    </a:cubicBezTo>
                    <a:cubicBezTo>
                      <a:pt x="2429150" y="457244"/>
                      <a:pt x="2496565" y="43"/>
                      <a:pt x="1559147" y="2419"/>
                    </a:cubicBezTo>
                    <a:close/>
                    <a:moveTo>
                      <a:pt x="1441394" y="209563"/>
                    </a:moveTo>
                    <a:cubicBezTo>
                      <a:pt x="1326017" y="232133"/>
                      <a:pt x="1226974" y="210305"/>
                      <a:pt x="1220292" y="161007"/>
                    </a:cubicBezTo>
                    <a:cubicBezTo>
                      <a:pt x="1213462" y="111708"/>
                      <a:pt x="1301517" y="53351"/>
                      <a:pt x="1417042" y="30929"/>
                    </a:cubicBezTo>
                    <a:cubicBezTo>
                      <a:pt x="1532419" y="8359"/>
                      <a:pt x="1631462" y="30187"/>
                      <a:pt x="1638144" y="79485"/>
                    </a:cubicBezTo>
                    <a:cubicBezTo>
                      <a:pt x="1644826" y="128784"/>
                      <a:pt x="1556771" y="187141"/>
                      <a:pt x="1441394" y="209563"/>
                    </a:cubicBez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7" name="Grafik 3">
              <a:extLst>
                <a:ext uri="{FF2B5EF4-FFF2-40B4-BE49-F238E27FC236}">
                  <a16:creationId xmlns:a16="http://schemas.microsoft.com/office/drawing/2014/main" id="{D4E2ECAC-1089-4BDC-B5A5-40301287C9F3}"/>
                </a:ext>
              </a:extLst>
            </p:cNvPr>
            <p:cNvGrpSpPr/>
            <p:nvPr/>
          </p:nvGrpSpPr>
          <p:grpSpPr>
            <a:xfrm>
              <a:off x="839786" y="1665771"/>
              <a:ext cx="4596648" cy="396765"/>
              <a:chOff x="839786" y="1665771"/>
              <a:chExt cx="4596648" cy="396765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666031D9-7BCC-420D-8FAE-7919641BB4F9}"/>
                  </a:ext>
                </a:extLst>
              </p:cNvPr>
              <p:cNvSpPr/>
              <p:nvPr/>
            </p:nvSpPr>
            <p:spPr>
              <a:xfrm>
                <a:off x="839786" y="1665919"/>
                <a:ext cx="248127" cy="313017"/>
              </a:xfrm>
              <a:custGeom>
                <a:avLst/>
                <a:gdLst>
                  <a:gd name="connsiteX0" fmla="*/ 0 w 248127"/>
                  <a:gd name="connsiteY0" fmla="*/ 0 h 313017"/>
                  <a:gd name="connsiteX1" fmla="*/ 248127 w 248127"/>
                  <a:gd name="connsiteY1" fmla="*/ 0 h 313017"/>
                  <a:gd name="connsiteX2" fmla="*/ 248127 w 248127"/>
                  <a:gd name="connsiteY2" fmla="*/ 25392 h 313017"/>
                  <a:gd name="connsiteX3" fmla="*/ 138987 w 248127"/>
                  <a:gd name="connsiteY3" fmla="*/ 25392 h 313017"/>
                  <a:gd name="connsiteX4" fmla="*/ 138987 w 248127"/>
                  <a:gd name="connsiteY4" fmla="*/ 313017 h 313017"/>
                  <a:gd name="connsiteX5" fmla="*/ 109140 w 248127"/>
                  <a:gd name="connsiteY5" fmla="*/ 313017 h 313017"/>
                  <a:gd name="connsiteX6" fmla="*/ 109140 w 248127"/>
                  <a:gd name="connsiteY6" fmla="*/ 25392 h 313017"/>
                  <a:gd name="connsiteX7" fmla="*/ 0 w 248127"/>
                  <a:gd name="connsiteY7" fmla="*/ 25392 h 313017"/>
                  <a:gd name="connsiteX8" fmla="*/ 0 w 248127"/>
                  <a:gd name="connsiteY8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8127" h="313017">
                    <a:moveTo>
                      <a:pt x="0" y="0"/>
                    </a:moveTo>
                    <a:lnTo>
                      <a:pt x="248127" y="0"/>
                    </a:lnTo>
                    <a:lnTo>
                      <a:pt x="248127" y="25392"/>
                    </a:lnTo>
                    <a:lnTo>
                      <a:pt x="138987" y="25392"/>
                    </a:lnTo>
                    <a:lnTo>
                      <a:pt x="138987" y="313017"/>
                    </a:lnTo>
                    <a:lnTo>
                      <a:pt x="109140" y="313017"/>
                    </a:lnTo>
                    <a:lnTo>
                      <a:pt x="109140" y="25392"/>
                    </a:lnTo>
                    <a:lnTo>
                      <a:pt x="0" y="2539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BB88F8BB-D717-433F-918A-B74990EC1718}"/>
                  </a:ext>
                </a:extLst>
              </p:cNvPr>
              <p:cNvSpPr/>
              <p:nvPr/>
            </p:nvSpPr>
            <p:spPr>
              <a:xfrm>
                <a:off x="1117314" y="1665919"/>
                <a:ext cx="218429" cy="313017"/>
              </a:xfrm>
              <a:custGeom>
                <a:avLst/>
                <a:gdLst>
                  <a:gd name="connsiteX0" fmla="*/ 0 w 218429"/>
                  <a:gd name="connsiteY0" fmla="*/ 0 h 313017"/>
                  <a:gd name="connsiteX1" fmla="*/ 216202 w 218429"/>
                  <a:gd name="connsiteY1" fmla="*/ 0 h 313017"/>
                  <a:gd name="connsiteX2" fmla="*/ 216202 w 218429"/>
                  <a:gd name="connsiteY2" fmla="*/ 25392 h 313017"/>
                  <a:gd name="connsiteX3" fmla="*/ 29847 w 218429"/>
                  <a:gd name="connsiteY3" fmla="*/ 25392 h 313017"/>
                  <a:gd name="connsiteX4" fmla="*/ 29847 w 218429"/>
                  <a:gd name="connsiteY4" fmla="*/ 138541 h 313017"/>
                  <a:gd name="connsiteX5" fmla="*/ 204322 w 218429"/>
                  <a:gd name="connsiteY5" fmla="*/ 138541 h 313017"/>
                  <a:gd name="connsiteX6" fmla="*/ 204322 w 218429"/>
                  <a:gd name="connsiteY6" fmla="*/ 163933 h 313017"/>
                  <a:gd name="connsiteX7" fmla="*/ 29847 w 218429"/>
                  <a:gd name="connsiteY7" fmla="*/ 163933 h 313017"/>
                  <a:gd name="connsiteX8" fmla="*/ 29847 w 218429"/>
                  <a:gd name="connsiteY8" fmla="*/ 287625 h 313017"/>
                  <a:gd name="connsiteX9" fmla="*/ 218429 w 218429"/>
                  <a:gd name="connsiteY9" fmla="*/ 287625 h 313017"/>
                  <a:gd name="connsiteX10" fmla="*/ 218429 w 218429"/>
                  <a:gd name="connsiteY10" fmla="*/ 313017 h 313017"/>
                  <a:gd name="connsiteX11" fmla="*/ 148 w 218429"/>
                  <a:gd name="connsiteY11" fmla="*/ 313017 h 313017"/>
                  <a:gd name="connsiteX12" fmla="*/ 148 w 218429"/>
                  <a:gd name="connsiteY12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8429" h="313017">
                    <a:moveTo>
                      <a:pt x="0" y="0"/>
                    </a:moveTo>
                    <a:lnTo>
                      <a:pt x="216202" y="0"/>
                    </a:lnTo>
                    <a:lnTo>
                      <a:pt x="216202" y="25392"/>
                    </a:lnTo>
                    <a:lnTo>
                      <a:pt x="29847" y="25392"/>
                    </a:lnTo>
                    <a:lnTo>
                      <a:pt x="29847" y="138541"/>
                    </a:lnTo>
                    <a:lnTo>
                      <a:pt x="204322" y="138541"/>
                    </a:lnTo>
                    <a:lnTo>
                      <a:pt x="204322" y="163933"/>
                    </a:lnTo>
                    <a:lnTo>
                      <a:pt x="29847" y="163933"/>
                    </a:lnTo>
                    <a:lnTo>
                      <a:pt x="29847" y="287625"/>
                    </a:lnTo>
                    <a:lnTo>
                      <a:pt x="218429" y="287625"/>
                    </a:lnTo>
                    <a:lnTo>
                      <a:pt x="218429" y="313017"/>
                    </a:lnTo>
                    <a:lnTo>
                      <a:pt x="148" y="313017"/>
                    </a:lnTo>
                    <a:lnTo>
                      <a:pt x="148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847E99CD-5B4D-4326-A1EB-88EEB9CC72C6}"/>
                  </a:ext>
                </a:extLst>
              </p:cNvPr>
              <p:cNvSpPr/>
              <p:nvPr/>
            </p:nvSpPr>
            <p:spPr>
              <a:xfrm>
                <a:off x="1362174" y="1666216"/>
                <a:ext cx="278122" cy="312720"/>
              </a:xfrm>
              <a:custGeom>
                <a:avLst/>
                <a:gdLst>
                  <a:gd name="connsiteX0" fmla="*/ 243969 w 278122"/>
                  <a:gd name="connsiteY0" fmla="*/ 100973 h 312720"/>
                  <a:gd name="connsiteX1" fmla="*/ 231051 w 278122"/>
                  <a:gd name="connsiteY1" fmla="*/ 68751 h 312720"/>
                  <a:gd name="connsiteX2" fmla="*/ 209074 w 278122"/>
                  <a:gd name="connsiteY2" fmla="*/ 44844 h 312720"/>
                  <a:gd name="connsiteX3" fmla="*/ 180564 w 278122"/>
                  <a:gd name="connsiteY3" fmla="*/ 30144 h 312720"/>
                  <a:gd name="connsiteX4" fmla="*/ 147896 w 278122"/>
                  <a:gd name="connsiteY4" fmla="*/ 25095 h 312720"/>
                  <a:gd name="connsiteX5" fmla="*/ 94440 w 278122"/>
                  <a:gd name="connsiteY5" fmla="*/ 36380 h 312720"/>
                  <a:gd name="connsiteX6" fmla="*/ 57763 w 278122"/>
                  <a:gd name="connsiteY6" fmla="*/ 66227 h 312720"/>
                  <a:gd name="connsiteX7" fmla="*/ 36677 w 278122"/>
                  <a:gd name="connsiteY7" fmla="*/ 108398 h 312720"/>
                  <a:gd name="connsiteX8" fmla="*/ 29846 w 278122"/>
                  <a:gd name="connsiteY8" fmla="*/ 156212 h 312720"/>
                  <a:gd name="connsiteX9" fmla="*/ 36677 w 278122"/>
                  <a:gd name="connsiteY9" fmla="*/ 204174 h 312720"/>
                  <a:gd name="connsiteX10" fmla="*/ 57763 w 278122"/>
                  <a:gd name="connsiteY10" fmla="*/ 246197 h 312720"/>
                  <a:gd name="connsiteX11" fmla="*/ 94440 w 278122"/>
                  <a:gd name="connsiteY11" fmla="*/ 276043 h 312720"/>
                  <a:gd name="connsiteX12" fmla="*/ 147896 w 278122"/>
                  <a:gd name="connsiteY12" fmla="*/ 287328 h 312720"/>
                  <a:gd name="connsiteX13" fmla="*/ 187098 w 278122"/>
                  <a:gd name="connsiteY13" fmla="*/ 279458 h 312720"/>
                  <a:gd name="connsiteX14" fmla="*/ 217538 w 278122"/>
                  <a:gd name="connsiteY14" fmla="*/ 257927 h 312720"/>
                  <a:gd name="connsiteX15" fmla="*/ 238178 w 278122"/>
                  <a:gd name="connsiteY15" fmla="*/ 226150 h 312720"/>
                  <a:gd name="connsiteX16" fmla="*/ 248276 w 278122"/>
                  <a:gd name="connsiteY16" fmla="*/ 186949 h 312720"/>
                  <a:gd name="connsiteX17" fmla="*/ 278122 w 278122"/>
                  <a:gd name="connsiteY17" fmla="*/ 186949 h 312720"/>
                  <a:gd name="connsiteX18" fmla="*/ 264461 w 278122"/>
                  <a:gd name="connsiteY18" fmla="*/ 239069 h 312720"/>
                  <a:gd name="connsiteX19" fmla="*/ 237287 w 278122"/>
                  <a:gd name="connsiteY19" fmla="*/ 278716 h 312720"/>
                  <a:gd name="connsiteX20" fmla="*/ 198086 w 278122"/>
                  <a:gd name="connsiteY20" fmla="*/ 303959 h 312720"/>
                  <a:gd name="connsiteX21" fmla="*/ 147896 w 278122"/>
                  <a:gd name="connsiteY21" fmla="*/ 312720 h 312720"/>
                  <a:gd name="connsiteX22" fmla="*/ 83154 w 278122"/>
                  <a:gd name="connsiteY22" fmla="*/ 299950 h 312720"/>
                  <a:gd name="connsiteX23" fmla="*/ 36826 w 278122"/>
                  <a:gd name="connsiteY23" fmla="*/ 265500 h 312720"/>
                  <a:gd name="connsiteX24" fmla="*/ 9206 w 278122"/>
                  <a:gd name="connsiteY24" fmla="*/ 215459 h 312720"/>
                  <a:gd name="connsiteX25" fmla="*/ 0 w 278122"/>
                  <a:gd name="connsiteY25" fmla="*/ 156360 h 312720"/>
                  <a:gd name="connsiteX26" fmla="*/ 9206 w 278122"/>
                  <a:gd name="connsiteY26" fmla="*/ 97261 h 312720"/>
                  <a:gd name="connsiteX27" fmla="*/ 36826 w 278122"/>
                  <a:gd name="connsiteY27" fmla="*/ 47220 h 312720"/>
                  <a:gd name="connsiteX28" fmla="*/ 83154 w 278122"/>
                  <a:gd name="connsiteY28" fmla="*/ 12770 h 312720"/>
                  <a:gd name="connsiteX29" fmla="*/ 147896 w 278122"/>
                  <a:gd name="connsiteY29" fmla="*/ 0 h 312720"/>
                  <a:gd name="connsiteX30" fmla="*/ 191552 w 278122"/>
                  <a:gd name="connsiteY30" fmla="*/ 6534 h 312720"/>
                  <a:gd name="connsiteX31" fmla="*/ 230160 w 278122"/>
                  <a:gd name="connsiteY31" fmla="*/ 25986 h 312720"/>
                  <a:gd name="connsiteX32" fmla="*/ 259115 w 278122"/>
                  <a:gd name="connsiteY32" fmla="*/ 57763 h 312720"/>
                  <a:gd name="connsiteX33" fmla="*/ 273816 w 278122"/>
                  <a:gd name="connsiteY33" fmla="*/ 101122 h 312720"/>
                  <a:gd name="connsiteX34" fmla="*/ 243969 w 278122"/>
                  <a:gd name="connsiteY34" fmla="*/ 101122 h 312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78122" h="312720">
                    <a:moveTo>
                      <a:pt x="243969" y="100973"/>
                    </a:moveTo>
                    <a:cubicBezTo>
                      <a:pt x="241297" y="88946"/>
                      <a:pt x="236990" y="78254"/>
                      <a:pt x="231051" y="68751"/>
                    </a:cubicBezTo>
                    <a:cubicBezTo>
                      <a:pt x="225111" y="59248"/>
                      <a:pt x="217687" y="51229"/>
                      <a:pt x="209074" y="44844"/>
                    </a:cubicBezTo>
                    <a:cubicBezTo>
                      <a:pt x="200462" y="38459"/>
                      <a:pt x="190958" y="33559"/>
                      <a:pt x="180564" y="30144"/>
                    </a:cubicBezTo>
                    <a:cubicBezTo>
                      <a:pt x="170170" y="26728"/>
                      <a:pt x="159330" y="25095"/>
                      <a:pt x="147896" y="25095"/>
                    </a:cubicBezTo>
                    <a:cubicBezTo>
                      <a:pt x="127108" y="25095"/>
                      <a:pt x="109289" y="28807"/>
                      <a:pt x="94440" y="36380"/>
                    </a:cubicBezTo>
                    <a:cubicBezTo>
                      <a:pt x="79591" y="43953"/>
                      <a:pt x="67266" y="53902"/>
                      <a:pt x="57763" y="66227"/>
                    </a:cubicBezTo>
                    <a:cubicBezTo>
                      <a:pt x="48259" y="78551"/>
                      <a:pt x="41280" y="92658"/>
                      <a:pt x="36677" y="108398"/>
                    </a:cubicBezTo>
                    <a:cubicBezTo>
                      <a:pt x="32074" y="124138"/>
                      <a:pt x="29846" y="140026"/>
                      <a:pt x="29846" y="156212"/>
                    </a:cubicBezTo>
                    <a:cubicBezTo>
                      <a:pt x="29846" y="172694"/>
                      <a:pt x="32074" y="188582"/>
                      <a:pt x="36677" y="204174"/>
                    </a:cubicBezTo>
                    <a:cubicBezTo>
                      <a:pt x="41280" y="219765"/>
                      <a:pt x="48259" y="233723"/>
                      <a:pt x="57763" y="246197"/>
                    </a:cubicBezTo>
                    <a:cubicBezTo>
                      <a:pt x="67266" y="258521"/>
                      <a:pt x="79442" y="268470"/>
                      <a:pt x="94440" y="276043"/>
                    </a:cubicBezTo>
                    <a:cubicBezTo>
                      <a:pt x="109289" y="283616"/>
                      <a:pt x="127108" y="287328"/>
                      <a:pt x="147896" y="287328"/>
                    </a:cubicBezTo>
                    <a:cubicBezTo>
                      <a:pt x="162151" y="287328"/>
                      <a:pt x="175367" y="284656"/>
                      <a:pt x="187098" y="279458"/>
                    </a:cubicBezTo>
                    <a:cubicBezTo>
                      <a:pt x="198977" y="274261"/>
                      <a:pt x="209074" y="266985"/>
                      <a:pt x="217538" y="257927"/>
                    </a:cubicBezTo>
                    <a:cubicBezTo>
                      <a:pt x="226002" y="248869"/>
                      <a:pt x="232833" y="238327"/>
                      <a:pt x="238178" y="226150"/>
                    </a:cubicBezTo>
                    <a:cubicBezTo>
                      <a:pt x="243375" y="213974"/>
                      <a:pt x="246791" y="200907"/>
                      <a:pt x="248276" y="186949"/>
                    </a:cubicBezTo>
                    <a:lnTo>
                      <a:pt x="278122" y="186949"/>
                    </a:lnTo>
                    <a:cubicBezTo>
                      <a:pt x="276043" y="206253"/>
                      <a:pt x="271589" y="223626"/>
                      <a:pt x="264461" y="239069"/>
                    </a:cubicBezTo>
                    <a:cubicBezTo>
                      <a:pt x="257482" y="254512"/>
                      <a:pt x="248424" y="267728"/>
                      <a:pt x="237287" y="278716"/>
                    </a:cubicBezTo>
                    <a:cubicBezTo>
                      <a:pt x="226151" y="289704"/>
                      <a:pt x="213083" y="298020"/>
                      <a:pt x="198086" y="303959"/>
                    </a:cubicBezTo>
                    <a:cubicBezTo>
                      <a:pt x="183088" y="309750"/>
                      <a:pt x="166309" y="312720"/>
                      <a:pt x="147896" y="312720"/>
                    </a:cubicBezTo>
                    <a:cubicBezTo>
                      <a:pt x="123395" y="312720"/>
                      <a:pt x="101716" y="308414"/>
                      <a:pt x="83154" y="299950"/>
                    </a:cubicBezTo>
                    <a:cubicBezTo>
                      <a:pt x="64593" y="291338"/>
                      <a:pt x="49150" y="279904"/>
                      <a:pt x="36826" y="265500"/>
                    </a:cubicBezTo>
                    <a:cubicBezTo>
                      <a:pt x="24501" y="251097"/>
                      <a:pt x="15294" y="234317"/>
                      <a:pt x="9206" y="215459"/>
                    </a:cubicBezTo>
                    <a:cubicBezTo>
                      <a:pt x="3118" y="196452"/>
                      <a:pt x="0" y="176852"/>
                      <a:pt x="0" y="156360"/>
                    </a:cubicBezTo>
                    <a:cubicBezTo>
                      <a:pt x="0" y="135868"/>
                      <a:pt x="3118" y="116119"/>
                      <a:pt x="9206" y="97261"/>
                    </a:cubicBezTo>
                    <a:cubicBezTo>
                      <a:pt x="15294" y="78403"/>
                      <a:pt x="24501" y="61623"/>
                      <a:pt x="36826" y="47220"/>
                    </a:cubicBezTo>
                    <a:cubicBezTo>
                      <a:pt x="49150" y="32816"/>
                      <a:pt x="64593" y="21234"/>
                      <a:pt x="83154" y="12770"/>
                    </a:cubicBezTo>
                    <a:cubicBezTo>
                      <a:pt x="101716" y="4158"/>
                      <a:pt x="123247" y="0"/>
                      <a:pt x="147896" y="0"/>
                    </a:cubicBezTo>
                    <a:cubicBezTo>
                      <a:pt x="162745" y="0"/>
                      <a:pt x="177297" y="2227"/>
                      <a:pt x="191552" y="6534"/>
                    </a:cubicBezTo>
                    <a:cubicBezTo>
                      <a:pt x="205659" y="10840"/>
                      <a:pt x="218578" y="17373"/>
                      <a:pt x="230160" y="25986"/>
                    </a:cubicBezTo>
                    <a:cubicBezTo>
                      <a:pt x="241742" y="34598"/>
                      <a:pt x="251394" y="45141"/>
                      <a:pt x="259115" y="57763"/>
                    </a:cubicBezTo>
                    <a:cubicBezTo>
                      <a:pt x="266837" y="70384"/>
                      <a:pt x="271737" y="84788"/>
                      <a:pt x="273816" y="101122"/>
                    </a:cubicBezTo>
                    <a:lnTo>
                      <a:pt x="243969" y="101122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ihandform: Form 20">
                <a:extLst>
                  <a:ext uri="{FF2B5EF4-FFF2-40B4-BE49-F238E27FC236}">
                    <a16:creationId xmlns:a16="http://schemas.microsoft.com/office/drawing/2014/main" id="{8475EAED-2708-480A-8ED8-05484F701E3F}"/>
                  </a:ext>
                </a:extLst>
              </p:cNvPr>
              <p:cNvSpPr/>
              <p:nvPr/>
            </p:nvSpPr>
            <p:spPr>
              <a:xfrm>
                <a:off x="1807793" y="1665919"/>
                <a:ext cx="205213" cy="313017"/>
              </a:xfrm>
              <a:custGeom>
                <a:avLst/>
                <a:gdLst>
                  <a:gd name="connsiteX0" fmla="*/ 0 w 205213"/>
                  <a:gd name="connsiteY0" fmla="*/ 0 h 313017"/>
                  <a:gd name="connsiteX1" fmla="*/ 29846 w 205213"/>
                  <a:gd name="connsiteY1" fmla="*/ 0 h 313017"/>
                  <a:gd name="connsiteX2" fmla="*/ 29846 w 205213"/>
                  <a:gd name="connsiteY2" fmla="*/ 287625 h 313017"/>
                  <a:gd name="connsiteX3" fmla="*/ 205213 w 205213"/>
                  <a:gd name="connsiteY3" fmla="*/ 287625 h 313017"/>
                  <a:gd name="connsiteX4" fmla="*/ 205213 w 205213"/>
                  <a:gd name="connsiteY4" fmla="*/ 313017 h 313017"/>
                  <a:gd name="connsiteX5" fmla="*/ 0 w 205213"/>
                  <a:gd name="connsiteY5" fmla="*/ 313017 h 313017"/>
                  <a:gd name="connsiteX6" fmla="*/ 0 w 205213"/>
                  <a:gd name="connsiteY6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213" h="313017">
                    <a:moveTo>
                      <a:pt x="0" y="0"/>
                    </a:moveTo>
                    <a:lnTo>
                      <a:pt x="29846" y="0"/>
                    </a:lnTo>
                    <a:lnTo>
                      <a:pt x="29846" y="287625"/>
                    </a:lnTo>
                    <a:lnTo>
                      <a:pt x="205213" y="287625"/>
                    </a:lnTo>
                    <a:lnTo>
                      <a:pt x="205213" y="313017"/>
                    </a:lnTo>
                    <a:lnTo>
                      <a:pt x="0" y="3130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ihandform: Form 21">
                <a:extLst>
                  <a:ext uri="{FF2B5EF4-FFF2-40B4-BE49-F238E27FC236}">
                    <a16:creationId xmlns:a16="http://schemas.microsoft.com/office/drawing/2014/main" id="{46EF5F07-3F10-428C-8E8B-F0CBF2A2B532}"/>
                  </a:ext>
                </a:extLst>
              </p:cNvPr>
              <p:cNvSpPr/>
              <p:nvPr/>
            </p:nvSpPr>
            <p:spPr>
              <a:xfrm>
                <a:off x="2026667" y="1752489"/>
                <a:ext cx="202029" cy="226298"/>
              </a:xfrm>
              <a:custGeom>
                <a:avLst/>
                <a:gdLst>
                  <a:gd name="connsiteX0" fmla="*/ 27619 w 202029"/>
                  <a:gd name="connsiteY0" fmla="*/ 120722 h 226298"/>
                  <a:gd name="connsiteX1" fmla="*/ 32074 w 202029"/>
                  <a:gd name="connsiteY1" fmla="*/ 149530 h 226298"/>
                  <a:gd name="connsiteX2" fmla="*/ 45290 w 202029"/>
                  <a:gd name="connsiteY2" fmla="*/ 175961 h 226298"/>
                  <a:gd name="connsiteX3" fmla="*/ 68305 w 202029"/>
                  <a:gd name="connsiteY3" fmla="*/ 195413 h 226298"/>
                  <a:gd name="connsiteX4" fmla="*/ 102310 w 202029"/>
                  <a:gd name="connsiteY4" fmla="*/ 203134 h 226298"/>
                  <a:gd name="connsiteX5" fmla="*/ 149678 w 202029"/>
                  <a:gd name="connsiteY5" fmla="*/ 187098 h 226298"/>
                  <a:gd name="connsiteX6" fmla="*/ 173288 w 202029"/>
                  <a:gd name="connsiteY6" fmla="*/ 145223 h 226298"/>
                  <a:gd name="connsiteX7" fmla="*/ 200907 w 202029"/>
                  <a:gd name="connsiteY7" fmla="*/ 145223 h 226298"/>
                  <a:gd name="connsiteX8" fmla="*/ 168685 w 202029"/>
                  <a:gd name="connsiteY8" fmla="*/ 205065 h 226298"/>
                  <a:gd name="connsiteX9" fmla="*/ 102310 w 202029"/>
                  <a:gd name="connsiteY9" fmla="*/ 226299 h 226298"/>
                  <a:gd name="connsiteX10" fmla="*/ 55832 w 202029"/>
                  <a:gd name="connsiteY10" fmla="*/ 217241 h 226298"/>
                  <a:gd name="connsiteX11" fmla="*/ 24204 w 202029"/>
                  <a:gd name="connsiteY11" fmla="*/ 192592 h 226298"/>
                  <a:gd name="connsiteX12" fmla="*/ 5940 w 202029"/>
                  <a:gd name="connsiteY12" fmla="*/ 156509 h 226298"/>
                  <a:gd name="connsiteX13" fmla="*/ 0 w 202029"/>
                  <a:gd name="connsiteY13" fmla="*/ 113149 h 226298"/>
                  <a:gd name="connsiteX14" fmla="*/ 5940 w 202029"/>
                  <a:gd name="connsiteY14" fmla="*/ 71721 h 226298"/>
                  <a:gd name="connsiteX15" fmla="*/ 24204 w 202029"/>
                  <a:gd name="connsiteY15" fmla="*/ 35489 h 226298"/>
                  <a:gd name="connsiteX16" fmla="*/ 55832 w 202029"/>
                  <a:gd name="connsiteY16" fmla="*/ 9800 h 226298"/>
                  <a:gd name="connsiteX17" fmla="*/ 102310 w 202029"/>
                  <a:gd name="connsiteY17" fmla="*/ 0 h 226298"/>
                  <a:gd name="connsiteX18" fmla="*/ 148787 w 202029"/>
                  <a:gd name="connsiteY18" fmla="*/ 10394 h 226298"/>
                  <a:gd name="connsiteX19" fmla="*/ 180119 w 202029"/>
                  <a:gd name="connsiteY19" fmla="*/ 37568 h 226298"/>
                  <a:gd name="connsiteX20" fmla="*/ 197492 w 202029"/>
                  <a:gd name="connsiteY20" fmla="*/ 76175 h 226298"/>
                  <a:gd name="connsiteX21" fmla="*/ 201947 w 202029"/>
                  <a:gd name="connsiteY21" fmla="*/ 120425 h 226298"/>
                  <a:gd name="connsiteX22" fmla="*/ 27619 w 202029"/>
                  <a:gd name="connsiteY22" fmla="*/ 120425 h 226298"/>
                  <a:gd name="connsiteX23" fmla="*/ 174030 w 202029"/>
                  <a:gd name="connsiteY23" fmla="*/ 97558 h 226298"/>
                  <a:gd name="connsiteX24" fmla="*/ 168536 w 202029"/>
                  <a:gd name="connsiteY24" fmla="*/ 69790 h 226298"/>
                  <a:gd name="connsiteX25" fmla="*/ 154281 w 202029"/>
                  <a:gd name="connsiteY25" fmla="*/ 46180 h 226298"/>
                  <a:gd name="connsiteX26" fmla="*/ 131859 w 202029"/>
                  <a:gd name="connsiteY26" fmla="*/ 29698 h 226298"/>
                  <a:gd name="connsiteX27" fmla="*/ 102013 w 202029"/>
                  <a:gd name="connsiteY27" fmla="*/ 23461 h 226298"/>
                  <a:gd name="connsiteX28" fmla="*/ 71721 w 202029"/>
                  <a:gd name="connsiteY28" fmla="*/ 29698 h 226298"/>
                  <a:gd name="connsiteX29" fmla="*/ 49299 w 202029"/>
                  <a:gd name="connsiteY29" fmla="*/ 46180 h 226298"/>
                  <a:gd name="connsiteX30" fmla="*/ 34598 w 202029"/>
                  <a:gd name="connsiteY30" fmla="*/ 69939 h 226298"/>
                  <a:gd name="connsiteX31" fmla="*/ 27322 w 202029"/>
                  <a:gd name="connsiteY31" fmla="*/ 97558 h 226298"/>
                  <a:gd name="connsiteX32" fmla="*/ 174030 w 202029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2029" h="226298">
                    <a:moveTo>
                      <a:pt x="27619" y="120722"/>
                    </a:moveTo>
                    <a:cubicBezTo>
                      <a:pt x="27619" y="130226"/>
                      <a:pt x="29104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5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8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9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947" y="120425"/>
                    </a:cubicBezTo>
                    <a:lnTo>
                      <a:pt x="27619" y="120425"/>
                    </a:lnTo>
                    <a:close/>
                    <a:moveTo>
                      <a:pt x="174030" y="97558"/>
                    </a:moveTo>
                    <a:cubicBezTo>
                      <a:pt x="173733" y="87906"/>
                      <a:pt x="171952" y="78700"/>
                      <a:pt x="168536" y="69790"/>
                    </a:cubicBezTo>
                    <a:cubicBezTo>
                      <a:pt x="165121" y="60881"/>
                      <a:pt x="160369" y="53011"/>
                      <a:pt x="154281" y="46180"/>
                    </a:cubicBezTo>
                    <a:cubicBezTo>
                      <a:pt x="148193" y="39350"/>
                      <a:pt x="140620" y="33856"/>
                      <a:pt x="131859" y="29698"/>
                    </a:cubicBezTo>
                    <a:cubicBezTo>
                      <a:pt x="123098" y="25540"/>
                      <a:pt x="113150" y="23461"/>
                      <a:pt x="102013" y="23461"/>
                    </a:cubicBezTo>
                    <a:cubicBezTo>
                      <a:pt x="90579" y="23461"/>
                      <a:pt x="80482" y="25540"/>
                      <a:pt x="71721" y="29698"/>
                    </a:cubicBezTo>
                    <a:cubicBezTo>
                      <a:pt x="62960" y="33856"/>
                      <a:pt x="55535" y="39350"/>
                      <a:pt x="49299" y="46180"/>
                    </a:cubicBezTo>
                    <a:cubicBezTo>
                      <a:pt x="43211" y="53011"/>
                      <a:pt x="38310" y="60881"/>
                      <a:pt x="34598" y="69939"/>
                    </a:cubicBezTo>
                    <a:cubicBezTo>
                      <a:pt x="30886" y="78997"/>
                      <a:pt x="28510" y="88055"/>
                      <a:pt x="27322" y="97558"/>
                    </a:cubicBezTo>
                    <a:lnTo>
                      <a:pt x="174030" y="97558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ihandform: Form 22">
                <a:extLst>
                  <a:ext uri="{FF2B5EF4-FFF2-40B4-BE49-F238E27FC236}">
                    <a16:creationId xmlns:a16="http://schemas.microsoft.com/office/drawing/2014/main" id="{5C20F15F-3AE7-4E8D-A484-A9E858736856}"/>
                  </a:ext>
                </a:extLst>
              </p:cNvPr>
              <p:cNvSpPr/>
              <p:nvPr/>
            </p:nvSpPr>
            <p:spPr>
              <a:xfrm>
                <a:off x="2253560" y="1746104"/>
                <a:ext cx="209371" cy="239217"/>
              </a:xfrm>
              <a:custGeom>
                <a:avLst/>
                <a:gdLst>
                  <a:gd name="connsiteX0" fmla="*/ 9355 w 209371"/>
                  <a:gd name="connsiteY0" fmla="*/ 75878 h 239217"/>
                  <a:gd name="connsiteX1" fmla="*/ 36826 w 209371"/>
                  <a:gd name="connsiteY1" fmla="*/ 17967 h 239217"/>
                  <a:gd name="connsiteX2" fmla="*/ 101122 w 209371"/>
                  <a:gd name="connsiteY2" fmla="*/ 0 h 239217"/>
                  <a:gd name="connsiteX3" fmla="*/ 130968 w 209371"/>
                  <a:gd name="connsiteY3" fmla="*/ 2821 h 239217"/>
                  <a:gd name="connsiteX4" fmla="*/ 157697 w 209371"/>
                  <a:gd name="connsiteY4" fmla="*/ 13513 h 239217"/>
                  <a:gd name="connsiteX5" fmla="*/ 177000 w 209371"/>
                  <a:gd name="connsiteY5" fmla="*/ 35638 h 239217"/>
                  <a:gd name="connsiteX6" fmla="*/ 184425 w 209371"/>
                  <a:gd name="connsiteY6" fmla="*/ 72760 h 239217"/>
                  <a:gd name="connsiteX7" fmla="*/ 184425 w 209371"/>
                  <a:gd name="connsiteY7" fmla="*/ 192889 h 239217"/>
                  <a:gd name="connsiteX8" fmla="*/ 200610 w 209371"/>
                  <a:gd name="connsiteY8" fmla="*/ 209520 h 239217"/>
                  <a:gd name="connsiteX9" fmla="*/ 209371 w 209371"/>
                  <a:gd name="connsiteY9" fmla="*/ 207738 h 239217"/>
                  <a:gd name="connsiteX10" fmla="*/ 209371 w 209371"/>
                  <a:gd name="connsiteY10" fmla="*/ 230902 h 239217"/>
                  <a:gd name="connsiteX11" fmla="*/ 200759 w 209371"/>
                  <a:gd name="connsiteY11" fmla="*/ 232239 h 239217"/>
                  <a:gd name="connsiteX12" fmla="*/ 191404 w 209371"/>
                  <a:gd name="connsiteY12" fmla="*/ 232684 h 239217"/>
                  <a:gd name="connsiteX13" fmla="*/ 174476 w 209371"/>
                  <a:gd name="connsiteY13" fmla="*/ 229863 h 239217"/>
                  <a:gd name="connsiteX14" fmla="*/ 164676 w 209371"/>
                  <a:gd name="connsiteY14" fmla="*/ 221696 h 239217"/>
                  <a:gd name="connsiteX15" fmla="*/ 160072 w 209371"/>
                  <a:gd name="connsiteY15" fmla="*/ 209223 h 239217"/>
                  <a:gd name="connsiteX16" fmla="*/ 159033 w 209371"/>
                  <a:gd name="connsiteY16" fmla="*/ 193186 h 239217"/>
                  <a:gd name="connsiteX17" fmla="*/ 158142 w 209371"/>
                  <a:gd name="connsiteY17" fmla="*/ 193186 h 239217"/>
                  <a:gd name="connsiteX18" fmla="*/ 142996 w 209371"/>
                  <a:gd name="connsiteY18" fmla="*/ 212638 h 239217"/>
                  <a:gd name="connsiteX19" fmla="*/ 125920 w 209371"/>
                  <a:gd name="connsiteY19" fmla="*/ 227041 h 239217"/>
                  <a:gd name="connsiteX20" fmla="*/ 104240 w 209371"/>
                  <a:gd name="connsiteY20" fmla="*/ 236099 h 239217"/>
                  <a:gd name="connsiteX21" fmla="*/ 75730 w 209371"/>
                  <a:gd name="connsiteY21" fmla="*/ 239218 h 239217"/>
                  <a:gd name="connsiteX22" fmla="*/ 46180 w 209371"/>
                  <a:gd name="connsiteY22" fmla="*/ 235208 h 239217"/>
                  <a:gd name="connsiteX23" fmla="*/ 22125 w 209371"/>
                  <a:gd name="connsiteY23" fmla="*/ 223181 h 239217"/>
                  <a:gd name="connsiteX24" fmla="*/ 5940 w 209371"/>
                  <a:gd name="connsiteY24" fmla="*/ 202541 h 239217"/>
                  <a:gd name="connsiteX25" fmla="*/ 0 w 209371"/>
                  <a:gd name="connsiteY25" fmla="*/ 172991 h 239217"/>
                  <a:gd name="connsiteX26" fmla="*/ 10543 w 209371"/>
                  <a:gd name="connsiteY26" fmla="*/ 135868 h 239217"/>
                  <a:gd name="connsiteX27" fmla="*/ 38459 w 209371"/>
                  <a:gd name="connsiteY27" fmla="*/ 115525 h 239217"/>
                  <a:gd name="connsiteX28" fmla="*/ 77512 w 209371"/>
                  <a:gd name="connsiteY28" fmla="*/ 105725 h 239217"/>
                  <a:gd name="connsiteX29" fmla="*/ 121613 w 209371"/>
                  <a:gd name="connsiteY29" fmla="*/ 100231 h 239217"/>
                  <a:gd name="connsiteX30" fmla="*/ 136759 w 209371"/>
                  <a:gd name="connsiteY30" fmla="*/ 97855 h 239217"/>
                  <a:gd name="connsiteX31" fmla="*/ 147896 w 209371"/>
                  <a:gd name="connsiteY31" fmla="*/ 93252 h 239217"/>
                  <a:gd name="connsiteX32" fmla="*/ 154727 w 209371"/>
                  <a:gd name="connsiteY32" fmla="*/ 84491 h 239217"/>
                  <a:gd name="connsiteX33" fmla="*/ 157103 w 209371"/>
                  <a:gd name="connsiteY33" fmla="*/ 69642 h 239217"/>
                  <a:gd name="connsiteX34" fmla="*/ 152499 w 209371"/>
                  <a:gd name="connsiteY34" fmla="*/ 46626 h 239217"/>
                  <a:gd name="connsiteX35" fmla="*/ 139729 w 209371"/>
                  <a:gd name="connsiteY35" fmla="*/ 32371 h 239217"/>
                  <a:gd name="connsiteX36" fmla="*/ 120871 w 209371"/>
                  <a:gd name="connsiteY36" fmla="*/ 25095 h 239217"/>
                  <a:gd name="connsiteX37" fmla="*/ 97855 w 209371"/>
                  <a:gd name="connsiteY37" fmla="*/ 23164 h 239217"/>
                  <a:gd name="connsiteX38" fmla="*/ 55090 w 209371"/>
                  <a:gd name="connsiteY38" fmla="*/ 35638 h 239217"/>
                  <a:gd name="connsiteX39" fmla="*/ 37271 w 209371"/>
                  <a:gd name="connsiteY39" fmla="*/ 75730 h 239217"/>
                  <a:gd name="connsiteX40" fmla="*/ 9355 w 209371"/>
                  <a:gd name="connsiteY40" fmla="*/ 75730 h 239217"/>
                  <a:gd name="connsiteX41" fmla="*/ 156657 w 209371"/>
                  <a:gd name="connsiteY41" fmla="*/ 109140 h 239217"/>
                  <a:gd name="connsiteX42" fmla="*/ 155766 w 209371"/>
                  <a:gd name="connsiteY42" fmla="*/ 109140 h 239217"/>
                  <a:gd name="connsiteX43" fmla="*/ 145669 w 209371"/>
                  <a:gd name="connsiteY43" fmla="*/ 116119 h 239217"/>
                  <a:gd name="connsiteX44" fmla="*/ 132453 w 209371"/>
                  <a:gd name="connsiteY44" fmla="*/ 119238 h 239217"/>
                  <a:gd name="connsiteX45" fmla="*/ 96222 w 209371"/>
                  <a:gd name="connsiteY45" fmla="*/ 124732 h 239217"/>
                  <a:gd name="connsiteX46" fmla="*/ 62217 w 209371"/>
                  <a:gd name="connsiteY46" fmla="*/ 132008 h 239217"/>
                  <a:gd name="connsiteX47" fmla="*/ 36974 w 209371"/>
                  <a:gd name="connsiteY47" fmla="*/ 145817 h 239217"/>
                  <a:gd name="connsiteX48" fmla="*/ 27174 w 209371"/>
                  <a:gd name="connsiteY48" fmla="*/ 171506 h 239217"/>
                  <a:gd name="connsiteX49" fmla="*/ 31331 w 209371"/>
                  <a:gd name="connsiteY49" fmla="*/ 190067 h 239217"/>
                  <a:gd name="connsiteX50" fmla="*/ 42468 w 209371"/>
                  <a:gd name="connsiteY50" fmla="*/ 204174 h 239217"/>
                  <a:gd name="connsiteX51" fmla="*/ 58654 w 209371"/>
                  <a:gd name="connsiteY51" fmla="*/ 213083 h 239217"/>
                  <a:gd name="connsiteX52" fmla="*/ 77512 w 209371"/>
                  <a:gd name="connsiteY52" fmla="*/ 216202 h 239217"/>
                  <a:gd name="connsiteX53" fmla="*/ 107804 w 209371"/>
                  <a:gd name="connsiteY53" fmla="*/ 211301 h 239217"/>
                  <a:gd name="connsiteX54" fmla="*/ 133047 w 209371"/>
                  <a:gd name="connsiteY54" fmla="*/ 197343 h 239217"/>
                  <a:gd name="connsiteX55" fmla="*/ 150124 w 209371"/>
                  <a:gd name="connsiteY55" fmla="*/ 174921 h 239217"/>
                  <a:gd name="connsiteX56" fmla="*/ 156509 w 209371"/>
                  <a:gd name="connsiteY56" fmla="*/ 145075 h 239217"/>
                  <a:gd name="connsiteX57" fmla="*/ 156509 w 209371"/>
                  <a:gd name="connsiteY57" fmla="*/ 109140 h 239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09371" h="239217">
                    <a:moveTo>
                      <a:pt x="9355" y="75878"/>
                    </a:moveTo>
                    <a:cubicBezTo>
                      <a:pt x="10840" y="49299"/>
                      <a:pt x="19898" y="29995"/>
                      <a:pt x="36826" y="17967"/>
                    </a:cubicBezTo>
                    <a:cubicBezTo>
                      <a:pt x="53605" y="5940"/>
                      <a:pt x="74988" y="0"/>
                      <a:pt x="101122" y="0"/>
                    </a:cubicBezTo>
                    <a:cubicBezTo>
                      <a:pt x="111071" y="0"/>
                      <a:pt x="121020" y="891"/>
                      <a:pt x="130968" y="2821"/>
                    </a:cubicBezTo>
                    <a:cubicBezTo>
                      <a:pt x="140917" y="4752"/>
                      <a:pt x="149827" y="8315"/>
                      <a:pt x="157697" y="13513"/>
                    </a:cubicBezTo>
                    <a:cubicBezTo>
                      <a:pt x="165567" y="18710"/>
                      <a:pt x="171952" y="26134"/>
                      <a:pt x="177000" y="35638"/>
                    </a:cubicBezTo>
                    <a:cubicBezTo>
                      <a:pt x="181900" y="45141"/>
                      <a:pt x="184425" y="57466"/>
                      <a:pt x="184425" y="72760"/>
                    </a:cubicBezTo>
                    <a:lnTo>
                      <a:pt x="184425" y="192889"/>
                    </a:lnTo>
                    <a:cubicBezTo>
                      <a:pt x="184425" y="204025"/>
                      <a:pt x="189770" y="209520"/>
                      <a:pt x="200610" y="209520"/>
                    </a:cubicBezTo>
                    <a:cubicBezTo>
                      <a:pt x="203580" y="209520"/>
                      <a:pt x="206401" y="208926"/>
                      <a:pt x="209371" y="207738"/>
                    </a:cubicBezTo>
                    <a:lnTo>
                      <a:pt x="209371" y="230902"/>
                    </a:lnTo>
                    <a:cubicBezTo>
                      <a:pt x="206104" y="231496"/>
                      <a:pt x="203283" y="231942"/>
                      <a:pt x="200759" y="232239"/>
                    </a:cubicBezTo>
                    <a:cubicBezTo>
                      <a:pt x="198234" y="232536"/>
                      <a:pt x="195116" y="232684"/>
                      <a:pt x="191404" y="232684"/>
                    </a:cubicBezTo>
                    <a:cubicBezTo>
                      <a:pt x="184425" y="232684"/>
                      <a:pt x="178782" y="231793"/>
                      <a:pt x="174476" y="229863"/>
                    </a:cubicBezTo>
                    <a:cubicBezTo>
                      <a:pt x="170170" y="227932"/>
                      <a:pt x="166903" y="225260"/>
                      <a:pt x="164676" y="221696"/>
                    </a:cubicBezTo>
                    <a:cubicBezTo>
                      <a:pt x="162300" y="218132"/>
                      <a:pt x="160815" y="213974"/>
                      <a:pt x="160072" y="209223"/>
                    </a:cubicBezTo>
                    <a:cubicBezTo>
                      <a:pt x="159330" y="204471"/>
                      <a:pt x="159033" y="199125"/>
                      <a:pt x="159033" y="193186"/>
                    </a:cubicBezTo>
                    <a:lnTo>
                      <a:pt x="158142" y="193186"/>
                    </a:lnTo>
                    <a:cubicBezTo>
                      <a:pt x="153242" y="200462"/>
                      <a:pt x="148193" y="206995"/>
                      <a:pt x="142996" y="212638"/>
                    </a:cubicBezTo>
                    <a:cubicBezTo>
                      <a:pt x="137947" y="218280"/>
                      <a:pt x="132156" y="223181"/>
                      <a:pt x="125920" y="227041"/>
                    </a:cubicBezTo>
                    <a:cubicBezTo>
                      <a:pt x="119683" y="230902"/>
                      <a:pt x="112407" y="234020"/>
                      <a:pt x="104240" y="236099"/>
                    </a:cubicBezTo>
                    <a:cubicBezTo>
                      <a:pt x="96073" y="238178"/>
                      <a:pt x="86570" y="239218"/>
                      <a:pt x="75730" y="239218"/>
                    </a:cubicBezTo>
                    <a:cubicBezTo>
                      <a:pt x="65187" y="239218"/>
                      <a:pt x="55387" y="237881"/>
                      <a:pt x="46180" y="235208"/>
                    </a:cubicBezTo>
                    <a:cubicBezTo>
                      <a:pt x="36974" y="232536"/>
                      <a:pt x="28956" y="228526"/>
                      <a:pt x="22125" y="223181"/>
                    </a:cubicBezTo>
                    <a:cubicBezTo>
                      <a:pt x="15294" y="217835"/>
                      <a:pt x="9800" y="210856"/>
                      <a:pt x="5940" y="202541"/>
                    </a:cubicBezTo>
                    <a:cubicBezTo>
                      <a:pt x="1930" y="194225"/>
                      <a:pt x="0" y="184276"/>
                      <a:pt x="0" y="172991"/>
                    </a:cubicBezTo>
                    <a:cubicBezTo>
                      <a:pt x="0" y="157251"/>
                      <a:pt x="3564" y="144926"/>
                      <a:pt x="10543" y="135868"/>
                    </a:cubicBezTo>
                    <a:cubicBezTo>
                      <a:pt x="17522" y="126959"/>
                      <a:pt x="26877" y="120129"/>
                      <a:pt x="38459" y="115525"/>
                    </a:cubicBezTo>
                    <a:cubicBezTo>
                      <a:pt x="50041" y="110922"/>
                      <a:pt x="62960" y="107507"/>
                      <a:pt x="77512" y="105725"/>
                    </a:cubicBezTo>
                    <a:cubicBezTo>
                      <a:pt x="91915" y="103795"/>
                      <a:pt x="106616" y="102013"/>
                      <a:pt x="121613" y="100231"/>
                    </a:cubicBezTo>
                    <a:cubicBezTo>
                      <a:pt x="127108" y="99637"/>
                      <a:pt x="132156" y="98894"/>
                      <a:pt x="136759" y="97855"/>
                    </a:cubicBezTo>
                    <a:cubicBezTo>
                      <a:pt x="141214" y="96816"/>
                      <a:pt x="145075" y="95331"/>
                      <a:pt x="147896" y="93252"/>
                    </a:cubicBezTo>
                    <a:cubicBezTo>
                      <a:pt x="150866" y="91173"/>
                      <a:pt x="153093" y="88352"/>
                      <a:pt x="154727" y="84491"/>
                    </a:cubicBezTo>
                    <a:cubicBezTo>
                      <a:pt x="156360" y="80779"/>
                      <a:pt x="157103" y="75730"/>
                      <a:pt x="157103" y="69642"/>
                    </a:cubicBezTo>
                    <a:cubicBezTo>
                      <a:pt x="157103" y="60287"/>
                      <a:pt x="155618" y="52566"/>
                      <a:pt x="152499" y="46626"/>
                    </a:cubicBezTo>
                    <a:cubicBezTo>
                      <a:pt x="149381" y="40686"/>
                      <a:pt x="145223" y="35935"/>
                      <a:pt x="139729" y="32371"/>
                    </a:cubicBezTo>
                    <a:cubicBezTo>
                      <a:pt x="134384" y="28807"/>
                      <a:pt x="127999" y="26431"/>
                      <a:pt x="120871" y="25095"/>
                    </a:cubicBezTo>
                    <a:cubicBezTo>
                      <a:pt x="113744" y="23758"/>
                      <a:pt x="106022" y="23164"/>
                      <a:pt x="97855" y="23164"/>
                    </a:cubicBezTo>
                    <a:cubicBezTo>
                      <a:pt x="80630" y="23164"/>
                      <a:pt x="66375" y="27322"/>
                      <a:pt x="55090" y="35638"/>
                    </a:cubicBezTo>
                    <a:cubicBezTo>
                      <a:pt x="43805" y="43953"/>
                      <a:pt x="37865" y="57317"/>
                      <a:pt x="37271" y="75730"/>
                    </a:cubicBezTo>
                    <a:lnTo>
                      <a:pt x="9355" y="75730"/>
                    </a:lnTo>
                    <a:close/>
                    <a:moveTo>
                      <a:pt x="156657" y="109140"/>
                    </a:moveTo>
                    <a:lnTo>
                      <a:pt x="155766" y="109140"/>
                    </a:lnTo>
                    <a:cubicBezTo>
                      <a:pt x="153984" y="112407"/>
                      <a:pt x="150718" y="114634"/>
                      <a:pt x="145669" y="116119"/>
                    </a:cubicBezTo>
                    <a:cubicBezTo>
                      <a:pt x="140769" y="117604"/>
                      <a:pt x="136314" y="118644"/>
                      <a:pt x="132453" y="119238"/>
                    </a:cubicBezTo>
                    <a:cubicBezTo>
                      <a:pt x="120722" y="121316"/>
                      <a:pt x="108695" y="123098"/>
                      <a:pt x="96222" y="124732"/>
                    </a:cubicBezTo>
                    <a:cubicBezTo>
                      <a:pt x="83748" y="126365"/>
                      <a:pt x="72463" y="128741"/>
                      <a:pt x="62217" y="132008"/>
                    </a:cubicBezTo>
                    <a:cubicBezTo>
                      <a:pt x="51972" y="135275"/>
                      <a:pt x="43656" y="139878"/>
                      <a:pt x="36974" y="145817"/>
                    </a:cubicBezTo>
                    <a:cubicBezTo>
                      <a:pt x="30441" y="151757"/>
                      <a:pt x="27174" y="160369"/>
                      <a:pt x="27174" y="171506"/>
                    </a:cubicBezTo>
                    <a:cubicBezTo>
                      <a:pt x="27174" y="178485"/>
                      <a:pt x="28510" y="184722"/>
                      <a:pt x="31331" y="190067"/>
                    </a:cubicBezTo>
                    <a:cubicBezTo>
                      <a:pt x="34153" y="195413"/>
                      <a:pt x="37865" y="200165"/>
                      <a:pt x="42468" y="204174"/>
                    </a:cubicBezTo>
                    <a:cubicBezTo>
                      <a:pt x="47071" y="208183"/>
                      <a:pt x="52566" y="211153"/>
                      <a:pt x="58654" y="213083"/>
                    </a:cubicBezTo>
                    <a:cubicBezTo>
                      <a:pt x="64742" y="215162"/>
                      <a:pt x="71127" y="216202"/>
                      <a:pt x="77512" y="216202"/>
                    </a:cubicBezTo>
                    <a:cubicBezTo>
                      <a:pt x="88055" y="216202"/>
                      <a:pt x="98152" y="214568"/>
                      <a:pt x="107804" y="211301"/>
                    </a:cubicBezTo>
                    <a:cubicBezTo>
                      <a:pt x="117456" y="208035"/>
                      <a:pt x="125920" y="203431"/>
                      <a:pt x="133047" y="197343"/>
                    </a:cubicBezTo>
                    <a:cubicBezTo>
                      <a:pt x="140175" y="191255"/>
                      <a:pt x="145966" y="183682"/>
                      <a:pt x="150124" y="174921"/>
                    </a:cubicBezTo>
                    <a:cubicBezTo>
                      <a:pt x="154430" y="166160"/>
                      <a:pt x="156509" y="156212"/>
                      <a:pt x="156509" y="145075"/>
                    </a:cubicBezTo>
                    <a:lnTo>
                      <a:pt x="156509" y="10914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ihandform: Form 23">
                <a:extLst>
                  <a:ext uri="{FF2B5EF4-FFF2-40B4-BE49-F238E27FC236}">
                    <a16:creationId xmlns:a16="http://schemas.microsoft.com/office/drawing/2014/main" id="{3C9DCAFE-8769-4775-B5F0-A1DD56AF559B}"/>
                  </a:ext>
                </a:extLst>
              </p:cNvPr>
              <p:cNvSpPr/>
              <p:nvPr/>
            </p:nvSpPr>
            <p:spPr>
              <a:xfrm>
                <a:off x="2483571" y="1665771"/>
                <a:ext cx="208628" cy="313165"/>
              </a:xfrm>
              <a:custGeom>
                <a:avLst/>
                <a:gdLst>
                  <a:gd name="connsiteX0" fmla="*/ 208629 w 208628"/>
                  <a:gd name="connsiteY0" fmla="*/ 313166 h 313165"/>
                  <a:gd name="connsiteX1" fmla="*/ 183237 w 208628"/>
                  <a:gd name="connsiteY1" fmla="*/ 313166 h 313165"/>
                  <a:gd name="connsiteX2" fmla="*/ 183237 w 208628"/>
                  <a:gd name="connsiteY2" fmla="*/ 270252 h 313165"/>
                  <a:gd name="connsiteX3" fmla="*/ 182346 w 208628"/>
                  <a:gd name="connsiteY3" fmla="*/ 270252 h 313165"/>
                  <a:gd name="connsiteX4" fmla="*/ 169427 w 208628"/>
                  <a:gd name="connsiteY4" fmla="*/ 290447 h 313165"/>
                  <a:gd name="connsiteX5" fmla="*/ 149975 w 208628"/>
                  <a:gd name="connsiteY5" fmla="*/ 306187 h 313165"/>
                  <a:gd name="connsiteX6" fmla="*/ 126514 w 208628"/>
                  <a:gd name="connsiteY6" fmla="*/ 313017 h 313165"/>
                  <a:gd name="connsiteX7" fmla="*/ 101716 w 208628"/>
                  <a:gd name="connsiteY7" fmla="*/ 313166 h 313165"/>
                  <a:gd name="connsiteX8" fmla="*/ 56723 w 208628"/>
                  <a:gd name="connsiteY8" fmla="*/ 304108 h 313165"/>
                  <a:gd name="connsiteX9" fmla="*/ 24946 w 208628"/>
                  <a:gd name="connsiteY9" fmla="*/ 279458 h 313165"/>
                  <a:gd name="connsiteX10" fmla="*/ 6088 w 208628"/>
                  <a:gd name="connsiteY10" fmla="*/ 243375 h 313165"/>
                  <a:gd name="connsiteX11" fmla="*/ 0 w 208628"/>
                  <a:gd name="connsiteY11" fmla="*/ 200016 h 313165"/>
                  <a:gd name="connsiteX12" fmla="*/ 6088 w 208628"/>
                  <a:gd name="connsiteY12" fmla="*/ 156657 h 313165"/>
                  <a:gd name="connsiteX13" fmla="*/ 24946 w 208628"/>
                  <a:gd name="connsiteY13" fmla="*/ 120574 h 313165"/>
                  <a:gd name="connsiteX14" fmla="*/ 56723 w 208628"/>
                  <a:gd name="connsiteY14" fmla="*/ 95925 h 313165"/>
                  <a:gd name="connsiteX15" fmla="*/ 101716 w 208628"/>
                  <a:gd name="connsiteY15" fmla="*/ 86867 h 313165"/>
                  <a:gd name="connsiteX16" fmla="*/ 126514 w 208628"/>
                  <a:gd name="connsiteY16" fmla="*/ 90133 h 313165"/>
                  <a:gd name="connsiteX17" fmla="*/ 149084 w 208628"/>
                  <a:gd name="connsiteY17" fmla="*/ 99488 h 313165"/>
                  <a:gd name="connsiteX18" fmla="*/ 167645 w 208628"/>
                  <a:gd name="connsiteY18" fmla="*/ 114783 h 313165"/>
                  <a:gd name="connsiteX19" fmla="*/ 180119 w 208628"/>
                  <a:gd name="connsiteY19" fmla="*/ 136314 h 313165"/>
                  <a:gd name="connsiteX20" fmla="*/ 181010 w 208628"/>
                  <a:gd name="connsiteY20" fmla="*/ 136314 h 313165"/>
                  <a:gd name="connsiteX21" fmla="*/ 181010 w 208628"/>
                  <a:gd name="connsiteY21" fmla="*/ 0 h 313165"/>
                  <a:gd name="connsiteX22" fmla="*/ 208629 w 208628"/>
                  <a:gd name="connsiteY22" fmla="*/ 0 h 313165"/>
                  <a:gd name="connsiteX23" fmla="*/ 208629 w 208628"/>
                  <a:gd name="connsiteY23" fmla="*/ 313166 h 313165"/>
                  <a:gd name="connsiteX24" fmla="*/ 31628 w 208628"/>
                  <a:gd name="connsiteY24" fmla="*/ 232536 h 313165"/>
                  <a:gd name="connsiteX25" fmla="*/ 44844 w 208628"/>
                  <a:gd name="connsiteY25" fmla="*/ 261343 h 313165"/>
                  <a:gd name="connsiteX26" fmla="*/ 67860 w 208628"/>
                  <a:gd name="connsiteY26" fmla="*/ 281983 h 313165"/>
                  <a:gd name="connsiteX27" fmla="*/ 101567 w 208628"/>
                  <a:gd name="connsiteY27" fmla="*/ 290001 h 313165"/>
                  <a:gd name="connsiteX28" fmla="*/ 138690 w 208628"/>
                  <a:gd name="connsiteY28" fmla="*/ 281983 h 313165"/>
                  <a:gd name="connsiteX29" fmla="*/ 163191 w 208628"/>
                  <a:gd name="connsiteY29" fmla="*/ 261343 h 313165"/>
                  <a:gd name="connsiteX30" fmla="*/ 176852 w 208628"/>
                  <a:gd name="connsiteY30" fmla="*/ 232536 h 313165"/>
                  <a:gd name="connsiteX31" fmla="*/ 181010 w 208628"/>
                  <a:gd name="connsiteY31" fmla="*/ 200016 h 313165"/>
                  <a:gd name="connsiteX32" fmla="*/ 176852 w 208628"/>
                  <a:gd name="connsiteY32" fmla="*/ 167497 h 313165"/>
                  <a:gd name="connsiteX33" fmla="*/ 163191 w 208628"/>
                  <a:gd name="connsiteY33" fmla="*/ 138690 h 313165"/>
                  <a:gd name="connsiteX34" fmla="*/ 138690 w 208628"/>
                  <a:gd name="connsiteY34" fmla="*/ 118050 h 313165"/>
                  <a:gd name="connsiteX35" fmla="*/ 101567 w 208628"/>
                  <a:gd name="connsiteY35" fmla="*/ 110031 h 313165"/>
                  <a:gd name="connsiteX36" fmla="*/ 67860 w 208628"/>
                  <a:gd name="connsiteY36" fmla="*/ 118050 h 313165"/>
                  <a:gd name="connsiteX37" fmla="*/ 44844 w 208628"/>
                  <a:gd name="connsiteY37" fmla="*/ 138690 h 313165"/>
                  <a:gd name="connsiteX38" fmla="*/ 31628 w 208628"/>
                  <a:gd name="connsiteY38" fmla="*/ 167497 h 313165"/>
                  <a:gd name="connsiteX39" fmla="*/ 27471 w 208628"/>
                  <a:gd name="connsiteY39" fmla="*/ 200016 h 313165"/>
                  <a:gd name="connsiteX40" fmla="*/ 31628 w 208628"/>
                  <a:gd name="connsiteY40" fmla="*/ 232536 h 313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08628" h="313165">
                    <a:moveTo>
                      <a:pt x="208629" y="313166"/>
                    </a:moveTo>
                    <a:lnTo>
                      <a:pt x="183237" y="313166"/>
                    </a:lnTo>
                    <a:lnTo>
                      <a:pt x="183237" y="270252"/>
                    </a:lnTo>
                    <a:lnTo>
                      <a:pt x="182346" y="270252"/>
                    </a:lnTo>
                    <a:cubicBezTo>
                      <a:pt x="179376" y="277528"/>
                      <a:pt x="175070" y="284210"/>
                      <a:pt x="169427" y="290447"/>
                    </a:cubicBezTo>
                    <a:cubicBezTo>
                      <a:pt x="163785" y="296535"/>
                      <a:pt x="157251" y="301880"/>
                      <a:pt x="149975" y="306187"/>
                    </a:cubicBezTo>
                    <a:cubicBezTo>
                      <a:pt x="142699" y="310641"/>
                      <a:pt x="134829" y="312869"/>
                      <a:pt x="126514" y="313017"/>
                    </a:cubicBezTo>
                    <a:cubicBezTo>
                      <a:pt x="118198" y="313166"/>
                      <a:pt x="109883" y="313166"/>
                      <a:pt x="101716" y="313166"/>
                    </a:cubicBezTo>
                    <a:cubicBezTo>
                      <a:pt x="84491" y="313166"/>
                      <a:pt x="69493" y="310196"/>
                      <a:pt x="56723" y="304108"/>
                    </a:cubicBezTo>
                    <a:cubicBezTo>
                      <a:pt x="43953" y="298020"/>
                      <a:pt x="33410" y="289853"/>
                      <a:pt x="24946" y="279458"/>
                    </a:cubicBezTo>
                    <a:cubicBezTo>
                      <a:pt x="16482" y="269064"/>
                      <a:pt x="10246" y="257036"/>
                      <a:pt x="6088" y="243375"/>
                    </a:cubicBezTo>
                    <a:cubicBezTo>
                      <a:pt x="1930" y="229714"/>
                      <a:pt x="0" y="215311"/>
                      <a:pt x="0" y="200016"/>
                    </a:cubicBezTo>
                    <a:cubicBezTo>
                      <a:pt x="0" y="184870"/>
                      <a:pt x="2079" y="170318"/>
                      <a:pt x="6088" y="156657"/>
                    </a:cubicBezTo>
                    <a:cubicBezTo>
                      <a:pt x="10246" y="142996"/>
                      <a:pt x="16482" y="130968"/>
                      <a:pt x="24946" y="120574"/>
                    </a:cubicBezTo>
                    <a:cubicBezTo>
                      <a:pt x="33410" y="110180"/>
                      <a:pt x="43953" y="102013"/>
                      <a:pt x="56723" y="95925"/>
                    </a:cubicBezTo>
                    <a:cubicBezTo>
                      <a:pt x="69493" y="89837"/>
                      <a:pt x="84342" y="86867"/>
                      <a:pt x="101716" y="86867"/>
                    </a:cubicBezTo>
                    <a:cubicBezTo>
                      <a:pt x="110180" y="86867"/>
                      <a:pt x="118495" y="87906"/>
                      <a:pt x="126514" y="90133"/>
                    </a:cubicBezTo>
                    <a:cubicBezTo>
                      <a:pt x="134532" y="92361"/>
                      <a:pt x="142105" y="95479"/>
                      <a:pt x="149084" y="99488"/>
                    </a:cubicBezTo>
                    <a:cubicBezTo>
                      <a:pt x="156063" y="103646"/>
                      <a:pt x="162300" y="108695"/>
                      <a:pt x="167645" y="114783"/>
                    </a:cubicBezTo>
                    <a:cubicBezTo>
                      <a:pt x="172991" y="120871"/>
                      <a:pt x="177149" y="128147"/>
                      <a:pt x="180119" y="136314"/>
                    </a:cubicBezTo>
                    <a:lnTo>
                      <a:pt x="181010" y="136314"/>
                    </a:lnTo>
                    <a:lnTo>
                      <a:pt x="181010" y="0"/>
                    </a:lnTo>
                    <a:lnTo>
                      <a:pt x="208629" y="0"/>
                    </a:lnTo>
                    <a:lnTo>
                      <a:pt x="208629" y="313166"/>
                    </a:lnTo>
                    <a:close/>
                    <a:moveTo>
                      <a:pt x="31628" y="232536"/>
                    </a:moveTo>
                    <a:cubicBezTo>
                      <a:pt x="34450" y="243227"/>
                      <a:pt x="38756" y="252879"/>
                      <a:pt x="44844" y="261343"/>
                    </a:cubicBezTo>
                    <a:cubicBezTo>
                      <a:pt x="50784" y="269807"/>
                      <a:pt x="58505" y="276637"/>
                      <a:pt x="67860" y="281983"/>
                    </a:cubicBezTo>
                    <a:cubicBezTo>
                      <a:pt x="77215" y="287328"/>
                      <a:pt x="88500" y="290001"/>
                      <a:pt x="101567" y="290001"/>
                    </a:cubicBezTo>
                    <a:cubicBezTo>
                      <a:pt x="116119" y="290001"/>
                      <a:pt x="128593" y="287328"/>
                      <a:pt x="138690" y="281983"/>
                    </a:cubicBezTo>
                    <a:cubicBezTo>
                      <a:pt x="148787" y="276637"/>
                      <a:pt x="156954" y="269807"/>
                      <a:pt x="163191" y="261343"/>
                    </a:cubicBezTo>
                    <a:cubicBezTo>
                      <a:pt x="169427" y="252879"/>
                      <a:pt x="174030" y="243227"/>
                      <a:pt x="176852" y="232536"/>
                    </a:cubicBezTo>
                    <a:cubicBezTo>
                      <a:pt x="179673" y="221844"/>
                      <a:pt x="181010" y="211004"/>
                      <a:pt x="181010" y="200016"/>
                    </a:cubicBezTo>
                    <a:cubicBezTo>
                      <a:pt x="181010" y="189176"/>
                      <a:pt x="179673" y="178337"/>
                      <a:pt x="176852" y="167497"/>
                    </a:cubicBezTo>
                    <a:cubicBezTo>
                      <a:pt x="174030" y="156806"/>
                      <a:pt x="169576" y="147154"/>
                      <a:pt x="163191" y="138690"/>
                    </a:cubicBezTo>
                    <a:cubicBezTo>
                      <a:pt x="156954" y="130226"/>
                      <a:pt x="148787" y="123395"/>
                      <a:pt x="138690" y="118050"/>
                    </a:cubicBezTo>
                    <a:cubicBezTo>
                      <a:pt x="128593" y="112704"/>
                      <a:pt x="116268" y="110031"/>
                      <a:pt x="101567" y="110031"/>
                    </a:cubicBezTo>
                    <a:cubicBezTo>
                      <a:pt x="88352" y="110031"/>
                      <a:pt x="77215" y="112704"/>
                      <a:pt x="67860" y="118050"/>
                    </a:cubicBezTo>
                    <a:cubicBezTo>
                      <a:pt x="58505" y="123395"/>
                      <a:pt x="50784" y="130226"/>
                      <a:pt x="44844" y="138690"/>
                    </a:cubicBezTo>
                    <a:cubicBezTo>
                      <a:pt x="38904" y="147154"/>
                      <a:pt x="34450" y="156806"/>
                      <a:pt x="31628" y="167497"/>
                    </a:cubicBezTo>
                    <a:cubicBezTo>
                      <a:pt x="28807" y="178337"/>
                      <a:pt x="27471" y="189028"/>
                      <a:pt x="27471" y="200016"/>
                    </a:cubicBezTo>
                    <a:cubicBezTo>
                      <a:pt x="27471" y="211004"/>
                      <a:pt x="28956" y="221844"/>
                      <a:pt x="31628" y="232536"/>
                    </a:cubicBez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FBE20C19-08EB-4DDC-8502-3444F7C54646}"/>
                  </a:ext>
                </a:extLst>
              </p:cNvPr>
              <p:cNvSpPr/>
              <p:nvPr/>
            </p:nvSpPr>
            <p:spPr>
              <a:xfrm>
                <a:off x="2718483" y="1752489"/>
                <a:ext cx="202029" cy="226298"/>
              </a:xfrm>
              <a:custGeom>
                <a:avLst/>
                <a:gdLst>
                  <a:gd name="connsiteX0" fmla="*/ 27619 w 202029"/>
                  <a:gd name="connsiteY0" fmla="*/ 120722 h 226298"/>
                  <a:gd name="connsiteX1" fmla="*/ 32074 w 202029"/>
                  <a:gd name="connsiteY1" fmla="*/ 149530 h 226298"/>
                  <a:gd name="connsiteX2" fmla="*/ 45290 w 202029"/>
                  <a:gd name="connsiteY2" fmla="*/ 175961 h 226298"/>
                  <a:gd name="connsiteX3" fmla="*/ 68305 w 202029"/>
                  <a:gd name="connsiteY3" fmla="*/ 195413 h 226298"/>
                  <a:gd name="connsiteX4" fmla="*/ 102310 w 202029"/>
                  <a:gd name="connsiteY4" fmla="*/ 203134 h 226298"/>
                  <a:gd name="connsiteX5" fmla="*/ 149678 w 202029"/>
                  <a:gd name="connsiteY5" fmla="*/ 187098 h 226298"/>
                  <a:gd name="connsiteX6" fmla="*/ 173288 w 202029"/>
                  <a:gd name="connsiteY6" fmla="*/ 145223 h 226298"/>
                  <a:gd name="connsiteX7" fmla="*/ 200907 w 202029"/>
                  <a:gd name="connsiteY7" fmla="*/ 145223 h 226298"/>
                  <a:gd name="connsiteX8" fmla="*/ 168685 w 202029"/>
                  <a:gd name="connsiteY8" fmla="*/ 205065 h 226298"/>
                  <a:gd name="connsiteX9" fmla="*/ 102310 w 202029"/>
                  <a:gd name="connsiteY9" fmla="*/ 226299 h 226298"/>
                  <a:gd name="connsiteX10" fmla="*/ 55832 w 202029"/>
                  <a:gd name="connsiteY10" fmla="*/ 217241 h 226298"/>
                  <a:gd name="connsiteX11" fmla="*/ 24204 w 202029"/>
                  <a:gd name="connsiteY11" fmla="*/ 192592 h 226298"/>
                  <a:gd name="connsiteX12" fmla="*/ 5940 w 202029"/>
                  <a:gd name="connsiteY12" fmla="*/ 156509 h 226298"/>
                  <a:gd name="connsiteX13" fmla="*/ 0 w 202029"/>
                  <a:gd name="connsiteY13" fmla="*/ 113149 h 226298"/>
                  <a:gd name="connsiteX14" fmla="*/ 5940 w 202029"/>
                  <a:gd name="connsiteY14" fmla="*/ 71721 h 226298"/>
                  <a:gd name="connsiteX15" fmla="*/ 24204 w 202029"/>
                  <a:gd name="connsiteY15" fmla="*/ 35489 h 226298"/>
                  <a:gd name="connsiteX16" fmla="*/ 55832 w 202029"/>
                  <a:gd name="connsiteY16" fmla="*/ 9800 h 226298"/>
                  <a:gd name="connsiteX17" fmla="*/ 102310 w 202029"/>
                  <a:gd name="connsiteY17" fmla="*/ 0 h 226298"/>
                  <a:gd name="connsiteX18" fmla="*/ 148787 w 202029"/>
                  <a:gd name="connsiteY18" fmla="*/ 10394 h 226298"/>
                  <a:gd name="connsiteX19" fmla="*/ 180119 w 202029"/>
                  <a:gd name="connsiteY19" fmla="*/ 37568 h 226298"/>
                  <a:gd name="connsiteX20" fmla="*/ 197492 w 202029"/>
                  <a:gd name="connsiteY20" fmla="*/ 76175 h 226298"/>
                  <a:gd name="connsiteX21" fmla="*/ 201947 w 202029"/>
                  <a:gd name="connsiteY21" fmla="*/ 120425 h 226298"/>
                  <a:gd name="connsiteX22" fmla="*/ 27619 w 202029"/>
                  <a:gd name="connsiteY22" fmla="*/ 120425 h 226298"/>
                  <a:gd name="connsiteX23" fmla="*/ 174179 w 202029"/>
                  <a:gd name="connsiteY23" fmla="*/ 97558 h 226298"/>
                  <a:gd name="connsiteX24" fmla="*/ 168685 w 202029"/>
                  <a:gd name="connsiteY24" fmla="*/ 69790 h 226298"/>
                  <a:gd name="connsiteX25" fmla="*/ 154430 w 202029"/>
                  <a:gd name="connsiteY25" fmla="*/ 46180 h 226298"/>
                  <a:gd name="connsiteX26" fmla="*/ 132008 w 202029"/>
                  <a:gd name="connsiteY26" fmla="*/ 29698 h 226298"/>
                  <a:gd name="connsiteX27" fmla="*/ 102161 w 202029"/>
                  <a:gd name="connsiteY27" fmla="*/ 23461 h 226298"/>
                  <a:gd name="connsiteX28" fmla="*/ 71869 w 202029"/>
                  <a:gd name="connsiteY28" fmla="*/ 29698 h 226298"/>
                  <a:gd name="connsiteX29" fmla="*/ 49447 w 202029"/>
                  <a:gd name="connsiteY29" fmla="*/ 46180 h 226298"/>
                  <a:gd name="connsiteX30" fmla="*/ 34747 w 202029"/>
                  <a:gd name="connsiteY30" fmla="*/ 69939 h 226298"/>
                  <a:gd name="connsiteX31" fmla="*/ 27471 w 202029"/>
                  <a:gd name="connsiteY31" fmla="*/ 97558 h 226298"/>
                  <a:gd name="connsiteX32" fmla="*/ 174179 w 202029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2029" h="226298">
                    <a:moveTo>
                      <a:pt x="27619" y="120722"/>
                    </a:moveTo>
                    <a:cubicBezTo>
                      <a:pt x="27619" y="130226"/>
                      <a:pt x="29104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5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8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9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947" y="120425"/>
                    </a:cubicBezTo>
                    <a:lnTo>
                      <a:pt x="27619" y="120425"/>
                    </a:lnTo>
                    <a:close/>
                    <a:moveTo>
                      <a:pt x="174179" y="97558"/>
                    </a:moveTo>
                    <a:cubicBezTo>
                      <a:pt x="173882" y="87906"/>
                      <a:pt x="172100" y="78700"/>
                      <a:pt x="168685" y="69790"/>
                    </a:cubicBezTo>
                    <a:cubicBezTo>
                      <a:pt x="165270" y="60881"/>
                      <a:pt x="160518" y="53011"/>
                      <a:pt x="154430" y="46180"/>
                    </a:cubicBezTo>
                    <a:cubicBezTo>
                      <a:pt x="148342" y="39350"/>
                      <a:pt x="140769" y="33856"/>
                      <a:pt x="132008" y="29698"/>
                    </a:cubicBezTo>
                    <a:cubicBezTo>
                      <a:pt x="123247" y="25540"/>
                      <a:pt x="113298" y="23461"/>
                      <a:pt x="102161" y="23461"/>
                    </a:cubicBezTo>
                    <a:cubicBezTo>
                      <a:pt x="90728" y="23461"/>
                      <a:pt x="80630" y="25540"/>
                      <a:pt x="71869" y="29698"/>
                    </a:cubicBezTo>
                    <a:cubicBezTo>
                      <a:pt x="63108" y="33856"/>
                      <a:pt x="55684" y="39350"/>
                      <a:pt x="49447" y="46180"/>
                    </a:cubicBezTo>
                    <a:cubicBezTo>
                      <a:pt x="43359" y="53011"/>
                      <a:pt x="38459" y="60881"/>
                      <a:pt x="34747" y="69939"/>
                    </a:cubicBezTo>
                    <a:cubicBezTo>
                      <a:pt x="31035" y="78997"/>
                      <a:pt x="28659" y="88055"/>
                      <a:pt x="27471" y="97558"/>
                    </a:cubicBezTo>
                    <a:lnTo>
                      <a:pt x="174179" y="97558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ihandform: Form 25">
                <a:extLst>
                  <a:ext uri="{FF2B5EF4-FFF2-40B4-BE49-F238E27FC236}">
                    <a16:creationId xmlns:a16="http://schemas.microsoft.com/office/drawing/2014/main" id="{88F39752-59C6-4625-9E28-30711A296943}"/>
                  </a:ext>
                </a:extLst>
              </p:cNvPr>
              <p:cNvSpPr/>
              <p:nvPr/>
            </p:nvSpPr>
            <p:spPr>
              <a:xfrm>
                <a:off x="2957552" y="1752516"/>
                <a:ext cx="111813" cy="226420"/>
              </a:xfrm>
              <a:custGeom>
                <a:avLst/>
                <a:gdLst>
                  <a:gd name="connsiteX0" fmla="*/ 0 w 111813"/>
                  <a:gd name="connsiteY0" fmla="*/ 121 h 226420"/>
                  <a:gd name="connsiteX1" fmla="*/ 25392 w 111813"/>
                  <a:gd name="connsiteY1" fmla="*/ 121 h 226420"/>
                  <a:gd name="connsiteX2" fmla="*/ 25392 w 111813"/>
                  <a:gd name="connsiteY2" fmla="*/ 53132 h 226420"/>
                  <a:gd name="connsiteX3" fmla="*/ 26283 w 111813"/>
                  <a:gd name="connsiteY3" fmla="*/ 53132 h 226420"/>
                  <a:gd name="connsiteX4" fmla="*/ 58951 w 111813"/>
                  <a:gd name="connsiteY4" fmla="*/ 12149 h 226420"/>
                  <a:gd name="connsiteX5" fmla="*/ 111813 w 111813"/>
                  <a:gd name="connsiteY5" fmla="*/ 121 h 226420"/>
                  <a:gd name="connsiteX6" fmla="*/ 111813 w 111813"/>
                  <a:gd name="connsiteY6" fmla="*/ 27741 h 226420"/>
                  <a:gd name="connsiteX7" fmla="*/ 77661 w 111813"/>
                  <a:gd name="connsiteY7" fmla="*/ 32641 h 226420"/>
                  <a:gd name="connsiteX8" fmla="*/ 51081 w 111813"/>
                  <a:gd name="connsiteY8" fmla="*/ 49272 h 226420"/>
                  <a:gd name="connsiteX9" fmla="*/ 33707 w 111813"/>
                  <a:gd name="connsiteY9" fmla="*/ 75257 h 226420"/>
                  <a:gd name="connsiteX10" fmla="*/ 27619 w 111813"/>
                  <a:gd name="connsiteY10" fmla="*/ 107628 h 226420"/>
                  <a:gd name="connsiteX11" fmla="*/ 27619 w 111813"/>
                  <a:gd name="connsiteY11" fmla="*/ 226420 h 226420"/>
                  <a:gd name="connsiteX12" fmla="*/ 0 w 111813"/>
                  <a:gd name="connsiteY12" fmla="*/ 226420 h 226420"/>
                  <a:gd name="connsiteX13" fmla="*/ 0 w 111813"/>
                  <a:gd name="connsiteY13" fmla="*/ 121 h 226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1813" h="226420">
                    <a:moveTo>
                      <a:pt x="0" y="121"/>
                    </a:moveTo>
                    <a:lnTo>
                      <a:pt x="25392" y="121"/>
                    </a:lnTo>
                    <a:lnTo>
                      <a:pt x="25392" y="53132"/>
                    </a:lnTo>
                    <a:lnTo>
                      <a:pt x="26283" y="53132"/>
                    </a:lnTo>
                    <a:cubicBezTo>
                      <a:pt x="33262" y="34720"/>
                      <a:pt x="44250" y="21059"/>
                      <a:pt x="58951" y="12149"/>
                    </a:cubicBezTo>
                    <a:cubicBezTo>
                      <a:pt x="73651" y="3240"/>
                      <a:pt x="91322" y="-769"/>
                      <a:pt x="111813" y="121"/>
                    </a:cubicBezTo>
                    <a:lnTo>
                      <a:pt x="111813" y="27741"/>
                    </a:lnTo>
                    <a:cubicBezTo>
                      <a:pt x="99192" y="27147"/>
                      <a:pt x="87906" y="28780"/>
                      <a:pt x="77661" y="32641"/>
                    </a:cubicBezTo>
                    <a:cubicBezTo>
                      <a:pt x="67415" y="36502"/>
                      <a:pt x="58654" y="42144"/>
                      <a:pt x="51081" y="49272"/>
                    </a:cubicBezTo>
                    <a:cubicBezTo>
                      <a:pt x="43656" y="56399"/>
                      <a:pt x="37865" y="65160"/>
                      <a:pt x="33707" y="75257"/>
                    </a:cubicBezTo>
                    <a:cubicBezTo>
                      <a:pt x="29550" y="85355"/>
                      <a:pt x="27619" y="96195"/>
                      <a:pt x="27619" y="107628"/>
                    </a:cubicBezTo>
                    <a:lnTo>
                      <a:pt x="27619" y="226420"/>
                    </a:lnTo>
                    <a:lnTo>
                      <a:pt x="0" y="226420"/>
                    </a:lnTo>
                    <a:lnTo>
                      <a:pt x="0" y="121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ihandform: Form 26">
                <a:extLst>
                  <a:ext uri="{FF2B5EF4-FFF2-40B4-BE49-F238E27FC236}">
                    <a16:creationId xmlns:a16="http://schemas.microsoft.com/office/drawing/2014/main" id="{A42FFE68-9C79-4853-AD65-2A450D0312A7}"/>
                  </a:ext>
                </a:extLst>
              </p:cNvPr>
              <p:cNvSpPr/>
              <p:nvPr/>
            </p:nvSpPr>
            <p:spPr>
              <a:xfrm>
                <a:off x="3097875" y="1745807"/>
                <a:ext cx="183533" cy="239514"/>
              </a:xfrm>
              <a:custGeom>
                <a:avLst/>
                <a:gdLst>
                  <a:gd name="connsiteX0" fmla="*/ 148044 w 183533"/>
                  <a:gd name="connsiteY0" fmla="*/ 73057 h 239514"/>
                  <a:gd name="connsiteX1" fmla="*/ 142847 w 183533"/>
                  <a:gd name="connsiteY1" fmla="*/ 50932 h 239514"/>
                  <a:gd name="connsiteX2" fmla="*/ 129929 w 183533"/>
                  <a:gd name="connsiteY2" fmla="*/ 35341 h 239514"/>
                  <a:gd name="connsiteX3" fmla="*/ 111368 w 183533"/>
                  <a:gd name="connsiteY3" fmla="*/ 26283 h 239514"/>
                  <a:gd name="connsiteX4" fmla="*/ 88945 w 183533"/>
                  <a:gd name="connsiteY4" fmla="*/ 23461 h 239514"/>
                  <a:gd name="connsiteX5" fmla="*/ 70384 w 183533"/>
                  <a:gd name="connsiteY5" fmla="*/ 25392 h 239514"/>
                  <a:gd name="connsiteX6" fmla="*/ 53011 w 183533"/>
                  <a:gd name="connsiteY6" fmla="*/ 31925 h 239514"/>
                  <a:gd name="connsiteX7" fmla="*/ 40241 w 183533"/>
                  <a:gd name="connsiteY7" fmla="*/ 43953 h 239514"/>
                  <a:gd name="connsiteX8" fmla="*/ 35489 w 183533"/>
                  <a:gd name="connsiteY8" fmla="*/ 62366 h 239514"/>
                  <a:gd name="connsiteX9" fmla="*/ 40092 w 183533"/>
                  <a:gd name="connsiteY9" fmla="*/ 77957 h 239514"/>
                  <a:gd name="connsiteX10" fmla="*/ 51675 w 183533"/>
                  <a:gd name="connsiteY10" fmla="*/ 88649 h 239514"/>
                  <a:gd name="connsiteX11" fmla="*/ 66969 w 183533"/>
                  <a:gd name="connsiteY11" fmla="*/ 95925 h 239514"/>
                  <a:gd name="connsiteX12" fmla="*/ 82263 w 183533"/>
                  <a:gd name="connsiteY12" fmla="*/ 100528 h 239514"/>
                  <a:gd name="connsiteX13" fmla="*/ 119089 w 183533"/>
                  <a:gd name="connsiteY13" fmla="*/ 108843 h 239514"/>
                  <a:gd name="connsiteX14" fmla="*/ 142550 w 183533"/>
                  <a:gd name="connsiteY14" fmla="*/ 115228 h 239514"/>
                  <a:gd name="connsiteX15" fmla="*/ 163191 w 183533"/>
                  <a:gd name="connsiteY15" fmla="*/ 127256 h 239514"/>
                  <a:gd name="connsiteX16" fmla="*/ 177891 w 183533"/>
                  <a:gd name="connsiteY16" fmla="*/ 145669 h 239514"/>
                  <a:gd name="connsiteX17" fmla="*/ 183534 w 183533"/>
                  <a:gd name="connsiteY17" fmla="*/ 171506 h 239514"/>
                  <a:gd name="connsiteX18" fmla="*/ 175218 w 183533"/>
                  <a:gd name="connsiteY18" fmla="*/ 202838 h 239514"/>
                  <a:gd name="connsiteX19" fmla="*/ 153984 w 183533"/>
                  <a:gd name="connsiteY19" fmla="*/ 223923 h 239514"/>
                  <a:gd name="connsiteX20" fmla="*/ 124880 w 183533"/>
                  <a:gd name="connsiteY20" fmla="*/ 235802 h 239514"/>
                  <a:gd name="connsiteX21" fmla="*/ 92806 w 183533"/>
                  <a:gd name="connsiteY21" fmla="*/ 239515 h 239514"/>
                  <a:gd name="connsiteX22" fmla="*/ 28213 w 183533"/>
                  <a:gd name="connsiteY22" fmla="*/ 220359 h 239514"/>
                  <a:gd name="connsiteX23" fmla="*/ 0 w 183533"/>
                  <a:gd name="connsiteY23" fmla="*/ 159627 h 239514"/>
                  <a:gd name="connsiteX24" fmla="*/ 27619 w 183533"/>
                  <a:gd name="connsiteY24" fmla="*/ 159627 h 239514"/>
                  <a:gd name="connsiteX25" fmla="*/ 47962 w 183533"/>
                  <a:gd name="connsiteY25" fmla="*/ 201947 h 239514"/>
                  <a:gd name="connsiteX26" fmla="*/ 94291 w 183533"/>
                  <a:gd name="connsiteY26" fmla="*/ 216202 h 239514"/>
                  <a:gd name="connsiteX27" fmla="*/ 114931 w 183533"/>
                  <a:gd name="connsiteY27" fmla="*/ 213974 h 239514"/>
                  <a:gd name="connsiteX28" fmla="*/ 135126 w 183533"/>
                  <a:gd name="connsiteY28" fmla="*/ 206550 h 239514"/>
                  <a:gd name="connsiteX29" fmla="*/ 150272 w 183533"/>
                  <a:gd name="connsiteY29" fmla="*/ 193186 h 239514"/>
                  <a:gd name="connsiteX30" fmla="*/ 156211 w 183533"/>
                  <a:gd name="connsiteY30" fmla="*/ 173288 h 239514"/>
                  <a:gd name="connsiteX31" fmla="*/ 152054 w 183533"/>
                  <a:gd name="connsiteY31" fmla="*/ 156657 h 239514"/>
                  <a:gd name="connsiteX32" fmla="*/ 140917 w 183533"/>
                  <a:gd name="connsiteY32" fmla="*/ 145075 h 239514"/>
                  <a:gd name="connsiteX33" fmla="*/ 124880 w 183533"/>
                  <a:gd name="connsiteY33" fmla="*/ 137353 h 239514"/>
                  <a:gd name="connsiteX34" fmla="*/ 106616 w 183533"/>
                  <a:gd name="connsiteY34" fmla="*/ 132156 h 239514"/>
                  <a:gd name="connsiteX35" fmla="*/ 71127 w 183533"/>
                  <a:gd name="connsiteY35" fmla="*/ 124286 h 239514"/>
                  <a:gd name="connsiteX36" fmla="*/ 46180 w 183533"/>
                  <a:gd name="connsiteY36" fmla="*/ 116119 h 239514"/>
                  <a:gd name="connsiteX37" fmla="*/ 26283 w 183533"/>
                  <a:gd name="connsiteY37" fmla="*/ 104686 h 239514"/>
                  <a:gd name="connsiteX38" fmla="*/ 12919 w 183533"/>
                  <a:gd name="connsiteY38" fmla="*/ 88055 h 239514"/>
                  <a:gd name="connsiteX39" fmla="*/ 8167 w 183533"/>
                  <a:gd name="connsiteY39" fmla="*/ 63702 h 239514"/>
                  <a:gd name="connsiteX40" fmla="*/ 15888 w 183533"/>
                  <a:gd name="connsiteY40" fmla="*/ 34301 h 239514"/>
                  <a:gd name="connsiteX41" fmla="*/ 35786 w 183533"/>
                  <a:gd name="connsiteY41" fmla="*/ 14552 h 239514"/>
                  <a:gd name="connsiteX42" fmla="*/ 63257 w 183533"/>
                  <a:gd name="connsiteY42" fmla="*/ 3564 h 239514"/>
                  <a:gd name="connsiteX43" fmla="*/ 93252 w 183533"/>
                  <a:gd name="connsiteY43" fmla="*/ 0 h 239514"/>
                  <a:gd name="connsiteX44" fmla="*/ 125029 w 183533"/>
                  <a:gd name="connsiteY44" fmla="*/ 4306 h 239514"/>
                  <a:gd name="connsiteX45" fmla="*/ 150866 w 183533"/>
                  <a:gd name="connsiteY45" fmla="*/ 17967 h 239514"/>
                  <a:gd name="connsiteX46" fmla="*/ 168685 w 183533"/>
                  <a:gd name="connsiteY46" fmla="*/ 40835 h 239514"/>
                  <a:gd name="connsiteX47" fmla="*/ 176109 w 183533"/>
                  <a:gd name="connsiteY47" fmla="*/ 72909 h 239514"/>
                  <a:gd name="connsiteX48" fmla="*/ 148044 w 183533"/>
                  <a:gd name="connsiteY48" fmla="*/ 72909 h 239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83533" h="239514">
                    <a:moveTo>
                      <a:pt x="148044" y="73057"/>
                    </a:moveTo>
                    <a:cubicBezTo>
                      <a:pt x="147748" y="64593"/>
                      <a:pt x="145966" y="57169"/>
                      <a:pt x="142847" y="50932"/>
                    </a:cubicBezTo>
                    <a:cubicBezTo>
                      <a:pt x="139581" y="44696"/>
                      <a:pt x="135274" y="39498"/>
                      <a:pt x="129929" y="35341"/>
                    </a:cubicBezTo>
                    <a:cubicBezTo>
                      <a:pt x="124583" y="31183"/>
                      <a:pt x="118346" y="28213"/>
                      <a:pt x="111368" y="26283"/>
                    </a:cubicBezTo>
                    <a:cubicBezTo>
                      <a:pt x="104389" y="24352"/>
                      <a:pt x="96964" y="23461"/>
                      <a:pt x="88945" y="23461"/>
                    </a:cubicBezTo>
                    <a:cubicBezTo>
                      <a:pt x="82857" y="23461"/>
                      <a:pt x="76621" y="24055"/>
                      <a:pt x="70384" y="25392"/>
                    </a:cubicBezTo>
                    <a:cubicBezTo>
                      <a:pt x="64148" y="26728"/>
                      <a:pt x="58357" y="28956"/>
                      <a:pt x="53011" y="31925"/>
                    </a:cubicBezTo>
                    <a:cubicBezTo>
                      <a:pt x="47814" y="35044"/>
                      <a:pt x="43508" y="39053"/>
                      <a:pt x="40241" y="43953"/>
                    </a:cubicBezTo>
                    <a:cubicBezTo>
                      <a:pt x="36974" y="48853"/>
                      <a:pt x="35489" y="55090"/>
                      <a:pt x="35489" y="62366"/>
                    </a:cubicBezTo>
                    <a:cubicBezTo>
                      <a:pt x="35489" y="68454"/>
                      <a:pt x="36974" y="73651"/>
                      <a:pt x="40092" y="77957"/>
                    </a:cubicBezTo>
                    <a:cubicBezTo>
                      <a:pt x="43210" y="82264"/>
                      <a:pt x="47071" y="85827"/>
                      <a:pt x="51675" y="88649"/>
                    </a:cubicBezTo>
                    <a:cubicBezTo>
                      <a:pt x="56278" y="91618"/>
                      <a:pt x="61475" y="93994"/>
                      <a:pt x="66969" y="95925"/>
                    </a:cubicBezTo>
                    <a:cubicBezTo>
                      <a:pt x="72463" y="97855"/>
                      <a:pt x="77660" y="99340"/>
                      <a:pt x="82263" y="100528"/>
                    </a:cubicBezTo>
                    <a:lnTo>
                      <a:pt x="119089" y="108843"/>
                    </a:lnTo>
                    <a:cubicBezTo>
                      <a:pt x="126959" y="110031"/>
                      <a:pt x="134829" y="112110"/>
                      <a:pt x="142550" y="115228"/>
                    </a:cubicBezTo>
                    <a:cubicBezTo>
                      <a:pt x="150272" y="118347"/>
                      <a:pt x="157102" y="122356"/>
                      <a:pt x="163191" y="127256"/>
                    </a:cubicBezTo>
                    <a:cubicBezTo>
                      <a:pt x="169130" y="132305"/>
                      <a:pt x="174030" y="138393"/>
                      <a:pt x="177891" y="145669"/>
                    </a:cubicBezTo>
                    <a:cubicBezTo>
                      <a:pt x="181752" y="152945"/>
                      <a:pt x="183534" y="161557"/>
                      <a:pt x="183534" y="171506"/>
                    </a:cubicBezTo>
                    <a:cubicBezTo>
                      <a:pt x="183534" y="183831"/>
                      <a:pt x="180712" y="194225"/>
                      <a:pt x="175218" y="202838"/>
                    </a:cubicBezTo>
                    <a:cubicBezTo>
                      <a:pt x="169724" y="211450"/>
                      <a:pt x="162597" y="218429"/>
                      <a:pt x="153984" y="223923"/>
                    </a:cubicBezTo>
                    <a:cubicBezTo>
                      <a:pt x="145372" y="229269"/>
                      <a:pt x="135571" y="233278"/>
                      <a:pt x="124880" y="235802"/>
                    </a:cubicBezTo>
                    <a:cubicBezTo>
                      <a:pt x="114040" y="238327"/>
                      <a:pt x="103349" y="239515"/>
                      <a:pt x="92806" y="239515"/>
                    </a:cubicBezTo>
                    <a:cubicBezTo>
                      <a:pt x="66226" y="239515"/>
                      <a:pt x="44695" y="233129"/>
                      <a:pt x="28213" y="220359"/>
                    </a:cubicBezTo>
                    <a:cubicBezTo>
                      <a:pt x="11731" y="207589"/>
                      <a:pt x="2227" y="187395"/>
                      <a:pt x="0" y="159627"/>
                    </a:cubicBezTo>
                    <a:lnTo>
                      <a:pt x="27619" y="159627"/>
                    </a:lnTo>
                    <a:cubicBezTo>
                      <a:pt x="28807" y="178337"/>
                      <a:pt x="35638" y="192443"/>
                      <a:pt x="47962" y="201947"/>
                    </a:cubicBezTo>
                    <a:cubicBezTo>
                      <a:pt x="60435" y="211450"/>
                      <a:pt x="75878" y="216202"/>
                      <a:pt x="94291" y="216202"/>
                    </a:cubicBezTo>
                    <a:cubicBezTo>
                      <a:pt x="100676" y="216202"/>
                      <a:pt x="107655" y="215459"/>
                      <a:pt x="114931" y="213974"/>
                    </a:cubicBezTo>
                    <a:cubicBezTo>
                      <a:pt x="122207" y="212489"/>
                      <a:pt x="128889" y="209965"/>
                      <a:pt x="135126" y="206550"/>
                    </a:cubicBezTo>
                    <a:cubicBezTo>
                      <a:pt x="141214" y="202986"/>
                      <a:pt x="146263" y="198531"/>
                      <a:pt x="150272" y="193186"/>
                    </a:cubicBezTo>
                    <a:cubicBezTo>
                      <a:pt x="154281" y="187840"/>
                      <a:pt x="156211" y="181158"/>
                      <a:pt x="156211" y="173288"/>
                    </a:cubicBezTo>
                    <a:cubicBezTo>
                      <a:pt x="156211" y="166903"/>
                      <a:pt x="154875" y="161260"/>
                      <a:pt x="152054" y="156657"/>
                    </a:cubicBezTo>
                    <a:cubicBezTo>
                      <a:pt x="149232" y="152054"/>
                      <a:pt x="145520" y="148045"/>
                      <a:pt x="140917" y="145075"/>
                    </a:cubicBezTo>
                    <a:cubicBezTo>
                      <a:pt x="136165" y="141957"/>
                      <a:pt x="130968" y="139432"/>
                      <a:pt x="124880" y="137353"/>
                    </a:cubicBezTo>
                    <a:cubicBezTo>
                      <a:pt x="118941" y="135275"/>
                      <a:pt x="112852" y="133493"/>
                      <a:pt x="106616" y="132156"/>
                    </a:cubicBezTo>
                    <a:lnTo>
                      <a:pt x="71127" y="124286"/>
                    </a:lnTo>
                    <a:cubicBezTo>
                      <a:pt x="62069" y="121910"/>
                      <a:pt x="53753" y="119238"/>
                      <a:pt x="46180" y="116119"/>
                    </a:cubicBezTo>
                    <a:cubicBezTo>
                      <a:pt x="38607" y="113001"/>
                      <a:pt x="31925" y="109289"/>
                      <a:pt x="26283" y="104686"/>
                    </a:cubicBezTo>
                    <a:cubicBezTo>
                      <a:pt x="20640" y="100231"/>
                      <a:pt x="16185" y="94588"/>
                      <a:pt x="12919" y="88055"/>
                    </a:cubicBezTo>
                    <a:cubicBezTo>
                      <a:pt x="9652" y="81521"/>
                      <a:pt x="8167" y="73354"/>
                      <a:pt x="8167" y="63702"/>
                    </a:cubicBezTo>
                    <a:cubicBezTo>
                      <a:pt x="8167" y="52269"/>
                      <a:pt x="10691" y="42468"/>
                      <a:pt x="15888" y="34301"/>
                    </a:cubicBezTo>
                    <a:cubicBezTo>
                      <a:pt x="20937" y="26134"/>
                      <a:pt x="27619" y="19601"/>
                      <a:pt x="35786" y="14552"/>
                    </a:cubicBezTo>
                    <a:cubicBezTo>
                      <a:pt x="43953" y="9652"/>
                      <a:pt x="53159" y="5940"/>
                      <a:pt x="63257" y="3564"/>
                    </a:cubicBezTo>
                    <a:cubicBezTo>
                      <a:pt x="73354" y="1188"/>
                      <a:pt x="83303" y="0"/>
                      <a:pt x="93252" y="0"/>
                    </a:cubicBezTo>
                    <a:cubicBezTo>
                      <a:pt x="104685" y="0"/>
                      <a:pt x="115228" y="1485"/>
                      <a:pt x="125029" y="4306"/>
                    </a:cubicBezTo>
                    <a:cubicBezTo>
                      <a:pt x="134829" y="7276"/>
                      <a:pt x="143441" y="11731"/>
                      <a:pt x="150866" y="17967"/>
                    </a:cubicBezTo>
                    <a:cubicBezTo>
                      <a:pt x="158290" y="24055"/>
                      <a:pt x="164230" y="31628"/>
                      <a:pt x="168685" y="40835"/>
                    </a:cubicBezTo>
                    <a:cubicBezTo>
                      <a:pt x="173139" y="49893"/>
                      <a:pt x="175515" y="60584"/>
                      <a:pt x="176109" y="72909"/>
                    </a:cubicBezTo>
                    <a:lnTo>
                      <a:pt x="148044" y="7290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ihandform: Form 27">
                <a:extLst>
                  <a:ext uri="{FF2B5EF4-FFF2-40B4-BE49-F238E27FC236}">
                    <a16:creationId xmlns:a16="http://schemas.microsoft.com/office/drawing/2014/main" id="{94BA55D9-6EE4-4333-942D-C3900CC1C547}"/>
                  </a:ext>
                </a:extLst>
              </p:cNvPr>
              <p:cNvSpPr/>
              <p:nvPr/>
            </p:nvSpPr>
            <p:spPr>
              <a:xfrm>
                <a:off x="3306058" y="1665919"/>
                <a:ext cx="183830" cy="313314"/>
              </a:xfrm>
              <a:custGeom>
                <a:avLst/>
                <a:gdLst>
                  <a:gd name="connsiteX0" fmla="*/ 0 w 183830"/>
                  <a:gd name="connsiteY0" fmla="*/ 0 h 313314"/>
                  <a:gd name="connsiteX1" fmla="*/ 27619 w 183830"/>
                  <a:gd name="connsiteY1" fmla="*/ 0 h 313314"/>
                  <a:gd name="connsiteX2" fmla="*/ 27619 w 183830"/>
                  <a:gd name="connsiteY2" fmla="*/ 132453 h 313314"/>
                  <a:gd name="connsiteX3" fmla="*/ 28510 w 183830"/>
                  <a:gd name="connsiteY3" fmla="*/ 132453 h 313314"/>
                  <a:gd name="connsiteX4" fmla="*/ 39647 w 183830"/>
                  <a:gd name="connsiteY4" fmla="*/ 113892 h 313314"/>
                  <a:gd name="connsiteX5" fmla="*/ 56575 w 183830"/>
                  <a:gd name="connsiteY5" fmla="*/ 99488 h 313314"/>
                  <a:gd name="connsiteX6" fmla="*/ 77661 w 183830"/>
                  <a:gd name="connsiteY6" fmla="*/ 90282 h 313314"/>
                  <a:gd name="connsiteX7" fmla="*/ 100825 w 183830"/>
                  <a:gd name="connsiteY7" fmla="*/ 87015 h 313314"/>
                  <a:gd name="connsiteX8" fmla="*/ 140472 w 183830"/>
                  <a:gd name="connsiteY8" fmla="*/ 92955 h 313314"/>
                  <a:gd name="connsiteX9" fmla="*/ 166161 w 183830"/>
                  <a:gd name="connsiteY9" fmla="*/ 109734 h 313314"/>
                  <a:gd name="connsiteX10" fmla="*/ 179822 w 183830"/>
                  <a:gd name="connsiteY10" fmla="*/ 136314 h 313314"/>
                  <a:gd name="connsiteX11" fmla="*/ 183831 w 183830"/>
                  <a:gd name="connsiteY11" fmla="*/ 171655 h 313314"/>
                  <a:gd name="connsiteX12" fmla="*/ 183831 w 183830"/>
                  <a:gd name="connsiteY12" fmla="*/ 313166 h 313314"/>
                  <a:gd name="connsiteX13" fmla="*/ 156212 w 183830"/>
                  <a:gd name="connsiteY13" fmla="*/ 313166 h 313314"/>
                  <a:gd name="connsiteX14" fmla="*/ 156212 w 183830"/>
                  <a:gd name="connsiteY14" fmla="*/ 176406 h 313314"/>
                  <a:gd name="connsiteX15" fmla="*/ 153539 w 183830"/>
                  <a:gd name="connsiteY15" fmla="*/ 150272 h 313314"/>
                  <a:gd name="connsiteX16" fmla="*/ 144332 w 183830"/>
                  <a:gd name="connsiteY16" fmla="*/ 129186 h 313314"/>
                  <a:gd name="connsiteX17" fmla="*/ 126514 w 183830"/>
                  <a:gd name="connsiteY17" fmla="*/ 115228 h 313314"/>
                  <a:gd name="connsiteX18" fmla="*/ 98597 w 183830"/>
                  <a:gd name="connsiteY18" fmla="*/ 110180 h 313314"/>
                  <a:gd name="connsiteX19" fmla="*/ 69048 w 183830"/>
                  <a:gd name="connsiteY19" fmla="*/ 115971 h 313314"/>
                  <a:gd name="connsiteX20" fmla="*/ 46923 w 183830"/>
                  <a:gd name="connsiteY20" fmla="*/ 131711 h 313314"/>
                  <a:gd name="connsiteX21" fmla="*/ 32965 w 183830"/>
                  <a:gd name="connsiteY21" fmla="*/ 155469 h 313314"/>
                  <a:gd name="connsiteX22" fmla="*/ 27768 w 183830"/>
                  <a:gd name="connsiteY22" fmla="*/ 185464 h 313314"/>
                  <a:gd name="connsiteX23" fmla="*/ 27768 w 183830"/>
                  <a:gd name="connsiteY23" fmla="*/ 313314 h 313314"/>
                  <a:gd name="connsiteX24" fmla="*/ 149 w 183830"/>
                  <a:gd name="connsiteY24" fmla="*/ 313314 h 313314"/>
                  <a:gd name="connsiteX25" fmla="*/ 149 w 183830"/>
                  <a:gd name="connsiteY25" fmla="*/ 0 h 31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3830" h="313314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132453"/>
                    </a:lnTo>
                    <a:lnTo>
                      <a:pt x="28510" y="132453"/>
                    </a:lnTo>
                    <a:cubicBezTo>
                      <a:pt x="31183" y="125771"/>
                      <a:pt x="34895" y="119535"/>
                      <a:pt x="39647" y="113892"/>
                    </a:cubicBezTo>
                    <a:cubicBezTo>
                      <a:pt x="44547" y="108249"/>
                      <a:pt x="50041" y="103349"/>
                      <a:pt x="56575" y="99488"/>
                    </a:cubicBezTo>
                    <a:cubicBezTo>
                      <a:pt x="62960" y="95479"/>
                      <a:pt x="69939" y="92509"/>
                      <a:pt x="77661" y="90282"/>
                    </a:cubicBezTo>
                    <a:cubicBezTo>
                      <a:pt x="85233" y="88055"/>
                      <a:pt x="92955" y="87015"/>
                      <a:pt x="100825" y="87015"/>
                    </a:cubicBezTo>
                    <a:cubicBezTo>
                      <a:pt x="116565" y="87015"/>
                      <a:pt x="129780" y="88946"/>
                      <a:pt x="140472" y="92955"/>
                    </a:cubicBezTo>
                    <a:cubicBezTo>
                      <a:pt x="151163" y="96964"/>
                      <a:pt x="159627" y="102607"/>
                      <a:pt x="166161" y="109734"/>
                    </a:cubicBezTo>
                    <a:cubicBezTo>
                      <a:pt x="172546" y="117010"/>
                      <a:pt x="177149" y="125920"/>
                      <a:pt x="179822" y="136314"/>
                    </a:cubicBezTo>
                    <a:cubicBezTo>
                      <a:pt x="182495" y="146857"/>
                      <a:pt x="183831" y="158587"/>
                      <a:pt x="183831" y="171655"/>
                    </a:cubicBezTo>
                    <a:lnTo>
                      <a:pt x="183831" y="313166"/>
                    </a:lnTo>
                    <a:lnTo>
                      <a:pt x="156212" y="313166"/>
                    </a:lnTo>
                    <a:lnTo>
                      <a:pt x="156212" y="176406"/>
                    </a:lnTo>
                    <a:cubicBezTo>
                      <a:pt x="156212" y="167051"/>
                      <a:pt x="155321" y="158290"/>
                      <a:pt x="153539" y="150272"/>
                    </a:cubicBezTo>
                    <a:cubicBezTo>
                      <a:pt x="151757" y="142254"/>
                      <a:pt x="148639" y="135275"/>
                      <a:pt x="144332" y="129186"/>
                    </a:cubicBezTo>
                    <a:cubicBezTo>
                      <a:pt x="139878" y="123247"/>
                      <a:pt x="134087" y="118644"/>
                      <a:pt x="126514" y="115228"/>
                    </a:cubicBezTo>
                    <a:cubicBezTo>
                      <a:pt x="119089" y="111813"/>
                      <a:pt x="109734" y="110180"/>
                      <a:pt x="98597" y="110180"/>
                    </a:cubicBezTo>
                    <a:cubicBezTo>
                      <a:pt x="87461" y="110180"/>
                      <a:pt x="77661" y="112110"/>
                      <a:pt x="69048" y="115971"/>
                    </a:cubicBezTo>
                    <a:cubicBezTo>
                      <a:pt x="60436" y="119832"/>
                      <a:pt x="53011" y="125029"/>
                      <a:pt x="46923" y="131711"/>
                    </a:cubicBezTo>
                    <a:cubicBezTo>
                      <a:pt x="40835" y="138393"/>
                      <a:pt x="36083" y="146263"/>
                      <a:pt x="32965" y="155469"/>
                    </a:cubicBezTo>
                    <a:cubicBezTo>
                      <a:pt x="29698" y="164676"/>
                      <a:pt x="27916" y="174624"/>
                      <a:pt x="27768" y="185464"/>
                    </a:cubicBezTo>
                    <a:lnTo>
                      <a:pt x="27768" y="313314"/>
                    </a:lnTo>
                    <a:lnTo>
                      <a:pt x="149" y="313314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ihandform: Form 28">
                <a:extLst>
                  <a:ext uri="{FF2B5EF4-FFF2-40B4-BE49-F238E27FC236}">
                    <a16:creationId xmlns:a16="http://schemas.microsoft.com/office/drawing/2014/main" id="{ABB6AD01-068A-4EB1-9004-3ED8C9577380}"/>
                  </a:ext>
                </a:extLst>
              </p:cNvPr>
              <p:cNvSpPr/>
              <p:nvPr/>
            </p:nvSpPr>
            <p:spPr>
              <a:xfrm>
                <a:off x="3542306" y="1665919"/>
                <a:ext cx="27619" cy="313017"/>
              </a:xfrm>
              <a:custGeom>
                <a:avLst/>
                <a:gdLst>
                  <a:gd name="connsiteX0" fmla="*/ 0 w 27619"/>
                  <a:gd name="connsiteY0" fmla="*/ 0 h 313017"/>
                  <a:gd name="connsiteX1" fmla="*/ 27619 w 27619"/>
                  <a:gd name="connsiteY1" fmla="*/ 0 h 313017"/>
                  <a:gd name="connsiteX2" fmla="*/ 27619 w 27619"/>
                  <a:gd name="connsiteY2" fmla="*/ 44250 h 313017"/>
                  <a:gd name="connsiteX3" fmla="*/ 0 w 27619"/>
                  <a:gd name="connsiteY3" fmla="*/ 44250 h 313017"/>
                  <a:gd name="connsiteX4" fmla="*/ 0 w 27619"/>
                  <a:gd name="connsiteY4" fmla="*/ 0 h 313017"/>
                  <a:gd name="connsiteX5" fmla="*/ 0 w 27619"/>
                  <a:gd name="connsiteY5" fmla="*/ 86718 h 313017"/>
                  <a:gd name="connsiteX6" fmla="*/ 27619 w 27619"/>
                  <a:gd name="connsiteY6" fmla="*/ 86718 h 313017"/>
                  <a:gd name="connsiteX7" fmla="*/ 27619 w 27619"/>
                  <a:gd name="connsiteY7" fmla="*/ 313017 h 313017"/>
                  <a:gd name="connsiteX8" fmla="*/ 0 w 27619"/>
                  <a:gd name="connsiteY8" fmla="*/ 313017 h 313017"/>
                  <a:gd name="connsiteX9" fmla="*/ 0 w 27619"/>
                  <a:gd name="connsiteY9" fmla="*/ 86718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19" h="31301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44250"/>
                    </a:lnTo>
                    <a:lnTo>
                      <a:pt x="0" y="44250"/>
                    </a:lnTo>
                    <a:lnTo>
                      <a:pt x="0" y="0"/>
                    </a:lnTo>
                    <a:close/>
                    <a:moveTo>
                      <a:pt x="0" y="86718"/>
                    </a:moveTo>
                    <a:lnTo>
                      <a:pt x="27619" y="86718"/>
                    </a:lnTo>
                    <a:lnTo>
                      <a:pt x="27619" y="313017"/>
                    </a:lnTo>
                    <a:lnTo>
                      <a:pt x="0" y="313017"/>
                    </a:lnTo>
                    <a:lnTo>
                      <a:pt x="0" y="86718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0F1EAFD9-C80C-4229-BC4E-C286ED47838F}"/>
                  </a:ext>
                </a:extLst>
              </p:cNvPr>
              <p:cNvSpPr/>
              <p:nvPr/>
            </p:nvSpPr>
            <p:spPr>
              <a:xfrm>
                <a:off x="3623085" y="1752489"/>
                <a:ext cx="208628" cy="310047"/>
              </a:xfrm>
              <a:custGeom>
                <a:avLst/>
                <a:gdLst>
                  <a:gd name="connsiteX0" fmla="*/ 0 w 208628"/>
                  <a:gd name="connsiteY0" fmla="*/ 149 h 310047"/>
                  <a:gd name="connsiteX1" fmla="*/ 25392 w 208628"/>
                  <a:gd name="connsiteY1" fmla="*/ 149 h 310047"/>
                  <a:gd name="connsiteX2" fmla="*/ 25392 w 208628"/>
                  <a:gd name="connsiteY2" fmla="*/ 43062 h 310047"/>
                  <a:gd name="connsiteX3" fmla="*/ 26283 w 208628"/>
                  <a:gd name="connsiteY3" fmla="*/ 43062 h 310047"/>
                  <a:gd name="connsiteX4" fmla="*/ 57614 w 208628"/>
                  <a:gd name="connsiteY4" fmla="*/ 9949 h 310047"/>
                  <a:gd name="connsiteX5" fmla="*/ 106913 w 208628"/>
                  <a:gd name="connsiteY5" fmla="*/ 0 h 310047"/>
                  <a:gd name="connsiteX6" fmla="*/ 151905 w 208628"/>
                  <a:gd name="connsiteY6" fmla="*/ 9058 h 310047"/>
                  <a:gd name="connsiteX7" fmla="*/ 183682 w 208628"/>
                  <a:gd name="connsiteY7" fmla="*/ 33707 h 310047"/>
                  <a:gd name="connsiteX8" fmla="*/ 202541 w 208628"/>
                  <a:gd name="connsiteY8" fmla="*/ 69790 h 310047"/>
                  <a:gd name="connsiteX9" fmla="*/ 208629 w 208628"/>
                  <a:gd name="connsiteY9" fmla="*/ 113149 h 310047"/>
                  <a:gd name="connsiteX10" fmla="*/ 202541 w 208628"/>
                  <a:gd name="connsiteY10" fmla="*/ 156509 h 310047"/>
                  <a:gd name="connsiteX11" fmla="*/ 183682 w 208628"/>
                  <a:gd name="connsiteY11" fmla="*/ 192592 h 310047"/>
                  <a:gd name="connsiteX12" fmla="*/ 151905 w 208628"/>
                  <a:gd name="connsiteY12" fmla="*/ 217241 h 310047"/>
                  <a:gd name="connsiteX13" fmla="*/ 106913 w 208628"/>
                  <a:gd name="connsiteY13" fmla="*/ 226299 h 310047"/>
                  <a:gd name="connsiteX14" fmla="*/ 82115 w 208628"/>
                  <a:gd name="connsiteY14" fmla="*/ 223181 h 310047"/>
                  <a:gd name="connsiteX15" fmla="*/ 59544 w 208628"/>
                  <a:gd name="connsiteY15" fmla="*/ 213826 h 310047"/>
                  <a:gd name="connsiteX16" fmla="*/ 40983 w 208628"/>
                  <a:gd name="connsiteY16" fmla="*/ 198234 h 310047"/>
                  <a:gd name="connsiteX17" fmla="*/ 28510 w 208628"/>
                  <a:gd name="connsiteY17" fmla="*/ 176703 h 310047"/>
                  <a:gd name="connsiteX18" fmla="*/ 27619 w 208628"/>
                  <a:gd name="connsiteY18" fmla="*/ 176703 h 310047"/>
                  <a:gd name="connsiteX19" fmla="*/ 27619 w 208628"/>
                  <a:gd name="connsiteY19" fmla="*/ 310047 h 310047"/>
                  <a:gd name="connsiteX20" fmla="*/ 0 w 208628"/>
                  <a:gd name="connsiteY20" fmla="*/ 310047 h 310047"/>
                  <a:gd name="connsiteX21" fmla="*/ 0 w 208628"/>
                  <a:gd name="connsiteY21" fmla="*/ 149 h 310047"/>
                  <a:gd name="connsiteX22" fmla="*/ 176852 w 208628"/>
                  <a:gd name="connsiteY22" fmla="*/ 80927 h 310047"/>
                  <a:gd name="connsiteX23" fmla="*/ 163636 w 208628"/>
                  <a:gd name="connsiteY23" fmla="*/ 52120 h 310047"/>
                  <a:gd name="connsiteX24" fmla="*/ 140620 w 208628"/>
                  <a:gd name="connsiteY24" fmla="*/ 31480 h 310047"/>
                  <a:gd name="connsiteX25" fmla="*/ 106913 w 208628"/>
                  <a:gd name="connsiteY25" fmla="*/ 23461 h 310047"/>
                  <a:gd name="connsiteX26" fmla="*/ 68751 w 208628"/>
                  <a:gd name="connsiteY26" fmla="*/ 30886 h 310047"/>
                  <a:gd name="connsiteX27" fmla="*/ 44250 w 208628"/>
                  <a:gd name="connsiteY27" fmla="*/ 50487 h 310047"/>
                  <a:gd name="connsiteX28" fmla="*/ 31331 w 208628"/>
                  <a:gd name="connsiteY28" fmla="*/ 79145 h 310047"/>
                  <a:gd name="connsiteX29" fmla="*/ 27619 w 208628"/>
                  <a:gd name="connsiteY29" fmla="*/ 113446 h 310047"/>
                  <a:gd name="connsiteX30" fmla="*/ 31777 w 208628"/>
                  <a:gd name="connsiteY30" fmla="*/ 145966 h 310047"/>
                  <a:gd name="connsiteX31" fmla="*/ 45438 w 208628"/>
                  <a:gd name="connsiteY31" fmla="*/ 174773 h 310047"/>
                  <a:gd name="connsiteX32" fmla="*/ 69939 w 208628"/>
                  <a:gd name="connsiteY32" fmla="*/ 195413 h 310047"/>
                  <a:gd name="connsiteX33" fmla="*/ 107061 w 208628"/>
                  <a:gd name="connsiteY33" fmla="*/ 203431 h 310047"/>
                  <a:gd name="connsiteX34" fmla="*/ 140769 w 208628"/>
                  <a:gd name="connsiteY34" fmla="*/ 195413 h 310047"/>
                  <a:gd name="connsiteX35" fmla="*/ 163785 w 208628"/>
                  <a:gd name="connsiteY35" fmla="*/ 174773 h 310047"/>
                  <a:gd name="connsiteX36" fmla="*/ 177000 w 208628"/>
                  <a:gd name="connsiteY36" fmla="*/ 145966 h 310047"/>
                  <a:gd name="connsiteX37" fmla="*/ 181158 w 208628"/>
                  <a:gd name="connsiteY37" fmla="*/ 113446 h 310047"/>
                  <a:gd name="connsiteX38" fmla="*/ 176852 w 208628"/>
                  <a:gd name="connsiteY38" fmla="*/ 80927 h 310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8628" h="310047">
                    <a:moveTo>
                      <a:pt x="0" y="149"/>
                    </a:moveTo>
                    <a:lnTo>
                      <a:pt x="25392" y="149"/>
                    </a:lnTo>
                    <a:lnTo>
                      <a:pt x="25392" y="43062"/>
                    </a:lnTo>
                    <a:lnTo>
                      <a:pt x="26283" y="43062"/>
                    </a:lnTo>
                    <a:cubicBezTo>
                      <a:pt x="32668" y="27619"/>
                      <a:pt x="43211" y="16482"/>
                      <a:pt x="57614" y="9949"/>
                    </a:cubicBezTo>
                    <a:cubicBezTo>
                      <a:pt x="72018" y="3415"/>
                      <a:pt x="88500" y="0"/>
                      <a:pt x="106913" y="0"/>
                    </a:cubicBezTo>
                    <a:cubicBezTo>
                      <a:pt x="124138" y="0"/>
                      <a:pt x="139135" y="3118"/>
                      <a:pt x="151905" y="9058"/>
                    </a:cubicBezTo>
                    <a:cubicBezTo>
                      <a:pt x="164676" y="15146"/>
                      <a:pt x="175218" y="23313"/>
                      <a:pt x="183682" y="33707"/>
                    </a:cubicBezTo>
                    <a:cubicBezTo>
                      <a:pt x="192146" y="44102"/>
                      <a:pt x="198383" y="56129"/>
                      <a:pt x="202541" y="69790"/>
                    </a:cubicBezTo>
                    <a:cubicBezTo>
                      <a:pt x="206698" y="83451"/>
                      <a:pt x="208629" y="97855"/>
                      <a:pt x="208629" y="113149"/>
                    </a:cubicBezTo>
                    <a:cubicBezTo>
                      <a:pt x="208629" y="128295"/>
                      <a:pt x="206550" y="142847"/>
                      <a:pt x="202541" y="156509"/>
                    </a:cubicBezTo>
                    <a:cubicBezTo>
                      <a:pt x="198383" y="170170"/>
                      <a:pt x="192146" y="182197"/>
                      <a:pt x="183682" y="192592"/>
                    </a:cubicBezTo>
                    <a:cubicBezTo>
                      <a:pt x="175218" y="202986"/>
                      <a:pt x="164676" y="211153"/>
                      <a:pt x="151905" y="217241"/>
                    </a:cubicBezTo>
                    <a:cubicBezTo>
                      <a:pt x="139135" y="223329"/>
                      <a:pt x="124138" y="226299"/>
                      <a:pt x="106913" y="226299"/>
                    </a:cubicBezTo>
                    <a:cubicBezTo>
                      <a:pt x="98449" y="226299"/>
                      <a:pt x="90133" y="225260"/>
                      <a:pt x="82115" y="223181"/>
                    </a:cubicBezTo>
                    <a:cubicBezTo>
                      <a:pt x="74096" y="221102"/>
                      <a:pt x="66524" y="217984"/>
                      <a:pt x="59544" y="213826"/>
                    </a:cubicBezTo>
                    <a:cubicBezTo>
                      <a:pt x="52565" y="209520"/>
                      <a:pt x="46329" y="204471"/>
                      <a:pt x="40983" y="198234"/>
                    </a:cubicBezTo>
                    <a:cubicBezTo>
                      <a:pt x="35638" y="192146"/>
                      <a:pt x="31331" y="184870"/>
                      <a:pt x="28510" y="176703"/>
                    </a:cubicBezTo>
                    <a:lnTo>
                      <a:pt x="27619" y="176703"/>
                    </a:lnTo>
                    <a:lnTo>
                      <a:pt x="27619" y="310047"/>
                    </a:lnTo>
                    <a:lnTo>
                      <a:pt x="0" y="310047"/>
                    </a:lnTo>
                    <a:lnTo>
                      <a:pt x="0" y="149"/>
                    </a:lnTo>
                    <a:close/>
                    <a:moveTo>
                      <a:pt x="176852" y="80927"/>
                    </a:moveTo>
                    <a:cubicBezTo>
                      <a:pt x="174030" y="70236"/>
                      <a:pt x="169724" y="60584"/>
                      <a:pt x="163636" y="52120"/>
                    </a:cubicBezTo>
                    <a:cubicBezTo>
                      <a:pt x="157696" y="43656"/>
                      <a:pt x="149975" y="36826"/>
                      <a:pt x="140620" y="31480"/>
                    </a:cubicBezTo>
                    <a:cubicBezTo>
                      <a:pt x="131265" y="26134"/>
                      <a:pt x="119980" y="23461"/>
                      <a:pt x="106913" y="23461"/>
                    </a:cubicBezTo>
                    <a:cubicBezTo>
                      <a:pt x="91767" y="23461"/>
                      <a:pt x="78997" y="25986"/>
                      <a:pt x="68751" y="30886"/>
                    </a:cubicBezTo>
                    <a:cubicBezTo>
                      <a:pt x="58505" y="35786"/>
                      <a:pt x="50338" y="42320"/>
                      <a:pt x="44250" y="50487"/>
                    </a:cubicBezTo>
                    <a:cubicBezTo>
                      <a:pt x="38162" y="58654"/>
                      <a:pt x="33856" y="68157"/>
                      <a:pt x="31331" y="79145"/>
                    </a:cubicBezTo>
                    <a:cubicBezTo>
                      <a:pt x="28807" y="89985"/>
                      <a:pt x="27619" y="101419"/>
                      <a:pt x="27619" y="113446"/>
                    </a:cubicBezTo>
                    <a:cubicBezTo>
                      <a:pt x="27619" y="124286"/>
                      <a:pt x="28956" y="135126"/>
                      <a:pt x="31777" y="145966"/>
                    </a:cubicBezTo>
                    <a:cubicBezTo>
                      <a:pt x="34598" y="156657"/>
                      <a:pt x="39053" y="166309"/>
                      <a:pt x="45438" y="174773"/>
                    </a:cubicBezTo>
                    <a:cubicBezTo>
                      <a:pt x="51675" y="183237"/>
                      <a:pt x="59842" y="190067"/>
                      <a:pt x="69939" y="195413"/>
                    </a:cubicBezTo>
                    <a:cubicBezTo>
                      <a:pt x="80036" y="200759"/>
                      <a:pt x="92361" y="203431"/>
                      <a:pt x="107061" y="203431"/>
                    </a:cubicBezTo>
                    <a:cubicBezTo>
                      <a:pt x="120277" y="203431"/>
                      <a:pt x="131414" y="200759"/>
                      <a:pt x="140769" y="195413"/>
                    </a:cubicBezTo>
                    <a:cubicBezTo>
                      <a:pt x="150124" y="190067"/>
                      <a:pt x="157845" y="183237"/>
                      <a:pt x="163785" y="174773"/>
                    </a:cubicBezTo>
                    <a:cubicBezTo>
                      <a:pt x="169724" y="166309"/>
                      <a:pt x="174179" y="156657"/>
                      <a:pt x="177000" y="145966"/>
                    </a:cubicBezTo>
                    <a:cubicBezTo>
                      <a:pt x="179822" y="135275"/>
                      <a:pt x="181158" y="124435"/>
                      <a:pt x="181158" y="113446"/>
                    </a:cubicBezTo>
                    <a:cubicBezTo>
                      <a:pt x="181010" y="102458"/>
                      <a:pt x="179673" y="91618"/>
                      <a:pt x="176852" y="80927"/>
                    </a:cubicBez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CAA74207-AADF-4002-ABC9-E0F7C9593FAE}"/>
                  </a:ext>
                </a:extLst>
              </p:cNvPr>
              <p:cNvSpPr/>
              <p:nvPr/>
            </p:nvSpPr>
            <p:spPr>
              <a:xfrm>
                <a:off x="4004111" y="1665919"/>
                <a:ext cx="29846" cy="313017"/>
              </a:xfrm>
              <a:custGeom>
                <a:avLst/>
                <a:gdLst>
                  <a:gd name="connsiteX0" fmla="*/ 0 w 29846"/>
                  <a:gd name="connsiteY0" fmla="*/ 0 h 313017"/>
                  <a:gd name="connsiteX1" fmla="*/ 29846 w 29846"/>
                  <a:gd name="connsiteY1" fmla="*/ 0 h 313017"/>
                  <a:gd name="connsiteX2" fmla="*/ 29846 w 29846"/>
                  <a:gd name="connsiteY2" fmla="*/ 313017 h 313017"/>
                  <a:gd name="connsiteX3" fmla="*/ 0 w 29846"/>
                  <a:gd name="connsiteY3" fmla="*/ 313017 h 313017"/>
                  <a:gd name="connsiteX4" fmla="*/ 0 w 29846"/>
                  <a:gd name="connsiteY4" fmla="*/ 0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46" h="313017">
                    <a:moveTo>
                      <a:pt x="0" y="0"/>
                    </a:moveTo>
                    <a:lnTo>
                      <a:pt x="29846" y="0"/>
                    </a:lnTo>
                    <a:lnTo>
                      <a:pt x="29846" y="313017"/>
                    </a:lnTo>
                    <a:lnTo>
                      <a:pt x="0" y="3130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63A7D517-3A9A-4953-ABF5-359EE49E6FB1}"/>
                  </a:ext>
                </a:extLst>
              </p:cNvPr>
              <p:cNvSpPr/>
              <p:nvPr/>
            </p:nvSpPr>
            <p:spPr>
              <a:xfrm>
                <a:off x="4093502" y="1752637"/>
                <a:ext cx="183830" cy="226447"/>
              </a:xfrm>
              <a:custGeom>
                <a:avLst/>
                <a:gdLst>
                  <a:gd name="connsiteX0" fmla="*/ 0 w 183830"/>
                  <a:gd name="connsiteY0" fmla="*/ 0 h 226447"/>
                  <a:gd name="connsiteX1" fmla="*/ 27619 w 183830"/>
                  <a:gd name="connsiteY1" fmla="*/ 0 h 226447"/>
                  <a:gd name="connsiteX2" fmla="*/ 27619 w 183830"/>
                  <a:gd name="connsiteY2" fmla="*/ 39053 h 226447"/>
                  <a:gd name="connsiteX3" fmla="*/ 28510 w 183830"/>
                  <a:gd name="connsiteY3" fmla="*/ 39053 h 226447"/>
                  <a:gd name="connsiteX4" fmla="*/ 39647 w 183830"/>
                  <a:gd name="connsiteY4" fmla="*/ 20492 h 226447"/>
                  <a:gd name="connsiteX5" fmla="*/ 56575 w 183830"/>
                  <a:gd name="connsiteY5" fmla="*/ 6088 h 226447"/>
                  <a:gd name="connsiteX6" fmla="*/ 77661 w 183830"/>
                  <a:gd name="connsiteY6" fmla="*/ 148 h 226447"/>
                  <a:gd name="connsiteX7" fmla="*/ 100825 w 183830"/>
                  <a:gd name="connsiteY7" fmla="*/ 148 h 226447"/>
                  <a:gd name="connsiteX8" fmla="*/ 140472 w 183830"/>
                  <a:gd name="connsiteY8" fmla="*/ 6088 h 226447"/>
                  <a:gd name="connsiteX9" fmla="*/ 166161 w 183830"/>
                  <a:gd name="connsiteY9" fmla="*/ 22867 h 226447"/>
                  <a:gd name="connsiteX10" fmla="*/ 179822 w 183830"/>
                  <a:gd name="connsiteY10" fmla="*/ 49447 h 226447"/>
                  <a:gd name="connsiteX11" fmla="*/ 183831 w 183830"/>
                  <a:gd name="connsiteY11" fmla="*/ 84788 h 226447"/>
                  <a:gd name="connsiteX12" fmla="*/ 183831 w 183830"/>
                  <a:gd name="connsiteY12" fmla="*/ 226299 h 226447"/>
                  <a:gd name="connsiteX13" fmla="*/ 156212 w 183830"/>
                  <a:gd name="connsiteY13" fmla="*/ 226299 h 226447"/>
                  <a:gd name="connsiteX14" fmla="*/ 156212 w 183830"/>
                  <a:gd name="connsiteY14" fmla="*/ 89540 h 226447"/>
                  <a:gd name="connsiteX15" fmla="*/ 153539 w 183830"/>
                  <a:gd name="connsiteY15" fmla="*/ 63405 h 226447"/>
                  <a:gd name="connsiteX16" fmla="*/ 144332 w 183830"/>
                  <a:gd name="connsiteY16" fmla="*/ 42320 h 226447"/>
                  <a:gd name="connsiteX17" fmla="*/ 126514 w 183830"/>
                  <a:gd name="connsiteY17" fmla="*/ 28362 h 226447"/>
                  <a:gd name="connsiteX18" fmla="*/ 98597 w 183830"/>
                  <a:gd name="connsiteY18" fmla="*/ 23313 h 226447"/>
                  <a:gd name="connsiteX19" fmla="*/ 69048 w 183830"/>
                  <a:gd name="connsiteY19" fmla="*/ 29104 h 226447"/>
                  <a:gd name="connsiteX20" fmla="*/ 46923 w 183830"/>
                  <a:gd name="connsiteY20" fmla="*/ 44844 h 226447"/>
                  <a:gd name="connsiteX21" fmla="*/ 32965 w 183830"/>
                  <a:gd name="connsiteY21" fmla="*/ 68602 h 226447"/>
                  <a:gd name="connsiteX22" fmla="*/ 27768 w 183830"/>
                  <a:gd name="connsiteY22" fmla="*/ 98597 h 226447"/>
                  <a:gd name="connsiteX23" fmla="*/ 27768 w 183830"/>
                  <a:gd name="connsiteY23" fmla="*/ 226447 h 226447"/>
                  <a:gd name="connsiteX24" fmla="*/ 149 w 183830"/>
                  <a:gd name="connsiteY24" fmla="*/ 226447 h 226447"/>
                  <a:gd name="connsiteX25" fmla="*/ 149 w 183830"/>
                  <a:gd name="connsiteY25" fmla="*/ 0 h 22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3830" h="22644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39053"/>
                    </a:lnTo>
                    <a:lnTo>
                      <a:pt x="28510" y="39053"/>
                    </a:lnTo>
                    <a:cubicBezTo>
                      <a:pt x="31183" y="32371"/>
                      <a:pt x="34895" y="26134"/>
                      <a:pt x="39647" y="20492"/>
                    </a:cubicBezTo>
                    <a:cubicBezTo>
                      <a:pt x="44547" y="14849"/>
                      <a:pt x="50041" y="9949"/>
                      <a:pt x="56575" y="6088"/>
                    </a:cubicBezTo>
                    <a:cubicBezTo>
                      <a:pt x="62960" y="2079"/>
                      <a:pt x="69939" y="148"/>
                      <a:pt x="77661" y="148"/>
                    </a:cubicBezTo>
                    <a:cubicBezTo>
                      <a:pt x="85233" y="148"/>
                      <a:pt x="92955" y="148"/>
                      <a:pt x="100825" y="148"/>
                    </a:cubicBezTo>
                    <a:cubicBezTo>
                      <a:pt x="116565" y="148"/>
                      <a:pt x="129780" y="2079"/>
                      <a:pt x="140472" y="6088"/>
                    </a:cubicBezTo>
                    <a:cubicBezTo>
                      <a:pt x="151163" y="10097"/>
                      <a:pt x="159627" y="15740"/>
                      <a:pt x="166161" y="22867"/>
                    </a:cubicBezTo>
                    <a:cubicBezTo>
                      <a:pt x="172546" y="30143"/>
                      <a:pt x="177149" y="39053"/>
                      <a:pt x="179822" y="49447"/>
                    </a:cubicBezTo>
                    <a:cubicBezTo>
                      <a:pt x="182495" y="59990"/>
                      <a:pt x="183831" y="71721"/>
                      <a:pt x="183831" y="84788"/>
                    </a:cubicBezTo>
                    <a:lnTo>
                      <a:pt x="183831" y="226299"/>
                    </a:lnTo>
                    <a:lnTo>
                      <a:pt x="156212" y="226299"/>
                    </a:lnTo>
                    <a:lnTo>
                      <a:pt x="156212" y="89540"/>
                    </a:lnTo>
                    <a:cubicBezTo>
                      <a:pt x="156212" y="80185"/>
                      <a:pt x="155321" y="71424"/>
                      <a:pt x="153539" y="63405"/>
                    </a:cubicBezTo>
                    <a:cubicBezTo>
                      <a:pt x="151757" y="55387"/>
                      <a:pt x="148639" y="48408"/>
                      <a:pt x="144332" y="42320"/>
                    </a:cubicBezTo>
                    <a:cubicBezTo>
                      <a:pt x="139878" y="36380"/>
                      <a:pt x="134087" y="31777"/>
                      <a:pt x="126514" y="28362"/>
                    </a:cubicBezTo>
                    <a:cubicBezTo>
                      <a:pt x="119089" y="24946"/>
                      <a:pt x="109734" y="23313"/>
                      <a:pt x="98597" y="23313"/>
                    </a:cubicBezTo>
                    <a:cubicBezTo>
                      <a:pt x="87461" y="23313"/>
                      <a:pt x="77661" y="25243"/>
                      <a:pt x="69048" y="29104"/>
                    </a:cubicBezTo>
                    <a:cubicBezTo>
                      <a:pt x="60436" y="32965"/>
                      <a:pt x="53011" y="38162"/>
                      <a:pt x="46923" y="44844"/>
                    </a:cubicBezTo>
                    <a:cubicBezTo>
                      <a:pt x="40835" y="51526"/>
                      <a:pt x="36083" y="59396"/>
                      <a:pt x="32965" y="68602"/>
                    </a:cubicBezTo>
                    <a:cubicBezTo>
                      <a:pt x="29698" y="77809"/>
                      <a:pt x="27916" y="87758"/>
                      <a:pt x="27768" y="98597"/>
                    </a:cubicBezTo>
                    <a:lnTo>
                      <a:pt x="27768" y="226447"/>
                    </a:lnTo>
                    <a:lnTo>
                      <a:pt x="149" y="226447"/>
                    </a:lnTo>
                    <a:lnTo>
                      <a:pt x="149" y="0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E2EC4974-5535-4A5E-A6CB-CFE8CD7A56A0}"/>
                  </a:ext>
                </a:extLst>
              </p:cNvPr>
              <p:cNvSpPr/>
              <p:nvPr/>
            </p:nvSpPr>
            <p:spPr>
              <a:xfrm>
                <a:off x="4316682" y="1745807"/>
                <a:ext cx="183682" cy="239514"/>
              </a:xfrm>
              <a:custGeom>
                <a:avLst/>
                <a:gdLst>
                  <a:gd name="connsiteX0" fmla="*/ 148193 w 183682"/>
                  <a:gd name="connsiteY0" fmla="*/ 73057 h 239514"/>
                  <a:gd name="connsiteX1" fmla="*/ 142996 w 183682"/>
                  <a:gd name="connsiteY1" fmla="*/ 50932 h 239514"/>
                  <a:gd name="connsiteX2" fmla="*/ 130078 w 183682"/>
                  <a:gd name="connsiteY2" fmla="*/ 35341 h 239514"/>
                  <a:gd name="connsiteX3" fmla="*/ 111516 w 183682"/>
                  <a:gd name="connsiteY3" fmla="*/ 26283 h 239514"/>
                  <a:gd name="connsiteX4" fmla="*/ 89094 w 183682"/>
                  <a:gd name="connsiteY4" fmla="*/ 23461 h 239514"/>
                  <a:gd name="connsiteX5" fmla="*/ 70533 w 183682"/>
                  <a:gd name="connsiteY5" fmla="*/ 25392 h 239514"/>
                  <a:gd name="connsiteX6" fmla="*/ 53160 w 183682"/>
                  <a:gd name="connsiteY6" fmla="*/ 31925 h 239514"/>
                  <a:gd name="connsiteX7" fmla="*/ 40389 w 183682"/>
                  <a:gd name="connsiteY7" fmla="*/ 43953 h 239514"/>
                  <a:gd name="connsiteX8" fmla="*/ 35638 w 183682"/>
                  <a:gd name="connsiteY8" fmla="*/ 62366 h 239514"/>
                  <a:gd name="connsiteX9" fmla="*/ 40241 w 183682"/>
                  <a:gd name="connsiteY9" fmla="*/ 77957 h 239514"/>
                  <a:gd name="connsiteX10" fmla="*/ 51823 w 183682"/>
                  <a:gd name="connsiteY10" fmla="*/ 88649 h 239514"/>
                  <a:gd name="connsiteX11" fmla="*/ 67118 w 183682"/>
                  <a:gd name="connsiteY11" fmla="*/ 95925 h 239514"/>
                  <a:gd name="connsiteX12" fmla="*/ 82412 w 183682"/>
                  <a:gd name="connsiteY12" fmla="*/ 100528 h 239514"/>
                  <a:gd name="connsiteX13" fmla="*/ 119238 w 183682"/>
                  <a:gd name="connsiteY13" fmla="*/ 108843 h 239514"/>
                  <a:gd name="connsiteX14" fmla="*/ 142699 w 183682"/>
                  <a:gd name="connsiteY14" fmla="*/ 115228 h 239514"/>
                  <a:gd name="connsiteX15" fmla="*/ 163339 w 183682"/>
                  <a:gd name="connsiteY15" fmla="*/ 127256 h 239514"/>
                  <a:gd name="connsiteX16" fmla="*/ 178040 w 183682"/>
                  <a:gd name="connsiteY16" fmla="*/ 145669 h 239514"/>
                  <a:gd name="connsiteX17" fmla="*/ 183682 w 183682"/>
                  <a:gd name="connsiteY17" fmla="*/ 171506 h 239514"/>
                  <a:gd name="connsiteX18" fmla="*/ 175367 w 183682"/>
                  <a:gd name="connsiteY18" fmla="*/ 202838 h 239514"/>
                  <a:gd name="connsiteX19" fmla="*/ 154133 w 183682"/>
                  <a:gd name="connsiteY19" fmla="*/ 223923 h 239514"/>
                  <a:gd name="connsiteX20" fmla="*/ 125029 w 183682"/>
                  <a:gd name="connsiteY20" fmla="*/ 235802 h 239514"/>
                  <a:gd name="connsiteX21" fmla="*/ 92955 w 183682"/>
                  <a:gd name="connsiteY21" fmla="*/ 239515 h 239514"/>
                  <a:gd name="connsiteX22" fmla="*/ 28213 w 183682"/>
                  <a:gd name="connsiteY22" fmla="*/ 220359 h 239514"/>
                  <a:gd name="connsiteX23" fmla="*/ 0 w 183682"/>
                  <a:gd name="connsiteY23" fmla="*/ 159627 h 239514"/>
                  <a:gd name="connsiteX24" fmla="*/ 27619 w 183682"/>
                  <a:gd name="connsiteY24" fmla="*/ 159627 h 239514"/>
                  <a:gd name="connsiteX25" fmla="*/ 47962 w 183682"/>
                  <a:gd name="connsiteY25" fmla="*/ 201947 h 239514"/>
                  <a:gd name="connsiteX26" fmla="*/ 94291 w 183682"/>
                  <a:gd name="connsiteY26" fmla="*/ 216202 h 239514"/>
                  <a:gd name="connsiteX27" fmla="*/ 114931 w 183682"/>
                  <a:gd name="connsiteY27" fmla="*/ 213974 h 239514"/>
                  <a:gd name="connsiteX28" fmla="*/ 135126 w 183682"/>
                  <a:gd name="connsiteY28" fmla="*/ 206550 h 239514"/>
                  <a:gd name="connsiteX29" fmla="*/ 150272 w 183682"/>
                  <a:gd name="connsiteY29" fmla="*/ 193186 h 239514"/>
                  <a:gd name="connsiteX30" fmla="*/ 156212 w 183682"/>
                  <a:gd name="connsiteY30" fmla="*/ 173288 h 239514"/>
                  <a:gd name="connsiteX31" fmla="*/ 152054 w 183682"/>
                  <a:gd name="connsiteY31" fmla="*/ 156657 h 239514"/>
                  <a:gd name="connsiteX32" fmla="*/ 140917 w 183682"/>
                  <a:gd name="connsiteY32" fmla="*/ 145075 h 239514"/>
                  <a:gd name="connsiteX33" fmla="*/ 124880 w 183682"/>
                  <a:gd name="connsiteY33" fmla="*/ 137353 h 239514"/>
                  <a:gd name="connsiteX34" fmla="*/ 106616 w 183682"/>
                  <a:gd name="connsiteY34" fmla="*/ 132156 h 239514"/>
                  <a:gd name="connsiteX35" fmla="*/ 71127 w 183682"/>
                  <a:gd name="connsiteY35" fmla="*/ 124286 h 239514"/>
                  <a:gd name="connsiteX36" fmla="*/ 46180 w 183682"/>
                  <a:gd name="connsiteY36" fmla="*/ 116119 h 239514"/>
                  <a:gd name="connsiteX37" fmla="*/ 26283 w 183682"/>
                  <a:gd name="connsiteY37" fmla="*/ 104686 h 239514"/>
                  <a:gd name="connsiteX38" fmla="*/ 12919 w 183682"/>
                  <a:gd name="connsiteY38" fmla="*/ 88055 h 239514"/>
                  <a:gd name="connsiteX39" fmla="*/ 8167 w 183682"/>
                  <a:gd name="connsiteY39" fmla="*/ 63702 h 239514"/>
                  <a:gd name="connsiteX40" fmla="*/ 15889 w 183682"/>
                  <a:gd name="connsiteY40" fmla="*/ 34301 h 239514"/>
                  <a:gd name="connsiteX41" fmla="*/ 35786 w 183682"/>
                  <a:gd name="connsiteY41" fmla="*/ 14552 h 239514"/>
                  <a:gd name="connsiteX42" fmla="*/ 63257 w 183682"/>
                  <a:gd name="connsiteY42" fmla="*/ 3564 h 239514"/>
                  <a:gd name="connsiteX43" fmla="*/ 93252 w 183682"/>
                  <a:gd name="connsiteY43" fmla="*/ 0 h 239514"/>
                  <a:gd name="connsiteX44" fmla="*/ 125029 w 183682"/>
                  <a:gd name="connsiteY44" fmla="*/ 4306 h 239514"/>
                  <a:gd name="connsiteX45" fmla="*/ 150866 w 183682"/>
                  <a:gd name="connsiteY45" fmla="*/ 17967 h 239514"/>
                  <a:gd name="connsiteX46" fmla="*/ 168685 w 183682"/>
                  <a:gd name="connsiteY46" fmla="*/ 40835 h 239514"/>
                  <a:gd name="connsiteX47" fmla="*/ 176109 w 183682"/>
                  <a:gd name="connsiteY47" fmla="*/ 72909 h 239514"/>
                  <a:gd name="connsiteX48" fmla="*/ 148193 w 183682"/>
                  <a:gd name="connsiteY48" fmla="*/ 72909 h 239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83682" h="239514">
                    <a:moveTo>
                      <a:pt x="148193" y="73057"/>
                    </a:moveTo>
                    <a:cubicBezTo>
                      <a:pt x="147896" y="64593"/>
                      <a:pt x="146114" y="57169"/>
                      <a:pt x="142996" y="50932"/>
                    </a:cubicBezTo>
                    <a:cubicBezTo>
                      <a:pt x="139729" y="44696"/>
                      <a:pt x="135423" y="39498"/>
                      <a:pt x="130078" y="35341"/>
                    </a:cubicBezTo>
                    <a:cubicBezTo>
                      <a:pt x="124732" y="31183"/>
                      <a:pt x="118495" y="28213"/>
                      <a:pt x="111516" y="26283"/>
                    </a:cubicBezTo>
                    <a:cubicBezTo>
                      <a:pt x="104537" y="24352"/>
                      <a:pt x="97113" y="23461"/>
                      <a:pt x="89094" y="23461"/>
                    </a:cubicBezTo>
                    <a:cubicBezTo>
                      <a:pt x="83006" y="23461"/>
                      <a:pt x="76770" y="24055"/>
                      <a:pt x="70533" y="25392"/>
                    </a:cubicBezTo>
                    <a:cubicBezTo>
                      <a:pt x="64296" y="26728"/>
                      <a:pt x="58505" y="28956"/>
                      <a:pt x="53160" y="31925"/>
                    </a:cubicBezTo>
                    <a:cubicBezTo>
                      <a:pt x="47962" y="35044"/>
                      <a:pt x="43656" y="39053"/>
                      <a:pt x="40389" y="43953"/>
                    </a:cubicBezTo>
                    <a:cubicBezTo>
                      <a:pt x="37123" y="48853"/>
                      <a:pt x="35638" y="55090"/>
                      <a:pt x="35638" y="62366"/>
                    </a:cubicBezTo>
                    <a:cubicBezTo>
                      <a:pt x="35638" y="68454"/>
                      <a:pt x="37123" y="73651"/>
                      <a:pt x="40241" y="77957"/>
                    </a:cubicBezTo>
                    <a:cubicBezTo>
                      <a:pt x="43359" y="82264"/>
                      <a:pt x="47220" y="85827"/>
                      <a:pt x="51823" y="88649"/>
                    </a:cubicBezTo>
                    <a:cubicBezTo>
                      <a:pt x="56426" y="91618"/>
                      <a:pt x="61624" y="93994"/>
                      <a:pt x="67118" y="95925"/>
                    </a:cubicBezTo>
                    <a:cubicBezTo>
                      <a:pt x="72612" y="97855"/>
                      <a:pt x="77809" y="99340"/>
                      <a:pt x="82412" y="100528"/>
                    </a:cubicBezTo>
                    <a:lnTo>
                      <a:pt x="119238" y="108843"/>
                    </a:lnTo>
                    <a:cubicBezTo>
                      <a:pt x="127108" y="110031"/>
                      <a:pt x="134978" y="112110"/>
                      <a:pt x="142699" y="115228"/>
                    </a:cubicBezTo>
                    <a:cubicBezTo>
                      <a:pt x="150421" y="118347"/>
                      <a:pt x="157251" y="122356"/>
                      <a:pt x="163339" y="127256"/>
                    </a:cubicBezTo>
                    <a:cubicBezTo>
                      <a:pt x="169279" y="132305"/>
                      <a:pt x="174179" y="138393"/>
                      <a:pt x="178040" y="145669"/>
                    </a:cubicBezTo>
                    <a:cubicBezTo>
                      <a:pt x="181900" y="152945"/>
                      <a:pt x="183682" y="161557"/>
                      <a:pt x="183682" y="171506"/>
                    </a:cubicBezTo>
                    <a:cubicBezTo>
                      <a:pt x="183682" y="183831"/>
                      <a:pt x="180861" y="194225"/>
                      <a:pt x="175367" y="202838"/>
                    </a:cubicBezTo>
                    <a:cubicBezTo>
                      <a:pt x="169873" y="211450"/>
                      <a:pt x="162745" y="218429"/>
                      <a:pt x="154133" y="223923"/>
                    </a:cubicBezTo>
                    <a:cubicBezTo>
                      <a:pt x="145520" y="229269"/>
                      <a:pt x="135720" y="233278"/>
                      <a:pt x="125029" y="235802"/>
                    </a:cubicBezTo>
                    <a:cubicBezTo>
                      <a:pt x="114189" y="238327"/>
                      <a:pt x="103498" y="239515"/>
                      <a:pt x="92955" y="239515"/>
                    </a:cubicBezTo>
                    <a:cubicBezTo>
                      <a:pt x="66375" y="239515"/>
                      <a:pt x="44844" y="233129"/>
                      <a:pt x="28213" y="220359"/>
                    </a:cubicBezTo>
                    <a:cubicBezTo>
                      <a:pt x="11731" y="207589"/>
                      <a:pt x="2227" y="187395"/>
                      <a:pt x="0" y="159627"/>
                    </a:cubicBezTo>
                    <a:lnTo>
                      <a:pt x="27619" y="159627"/>
                    </a:lnTo>
                    <a:cubicBezTo>
                      <a:pt x="28807" y="178337"/>
                      <a:pt x="35638" y="192443"/>
                      <a:pt x="47962" y="201947"/>
                    </a:cubicBezTo>
                    <a:cubicBezTo>
                      <a:pt x="60436" y="211450"/>
                      <a:pt x="75878" y="216202"/>
                      <a:pt x="94291" y="216202"/>
                    </a:cubicBezTo>
                    <a:cubicBezTo>
                      <a:pt x="100676" y="216202"/>
                      <a:pt x="107655" y="215459"/>
                      <a:pt x="114931" y="213974"/>
                    </a:cubicBezTo>
                    <a:cubicBezTo>
                      <a:pt x="122208" y="212489"/>
                      <a:pt x="128890" y="209965"/>
                      <a:pt x="135126" y="206550"/>
                    </a:cubicBezTo>
                    <a:cubicBezTo>
                      <a:pt x="141214" y="202986"/>
                      <a:pt x="146263" y="198531"/>
                      <a:pt x="150272" y="193186"/>
                    </a:cubicBezTo>
                    <a:cubicBezTo>
                      <a:pt x="154281" y="187840"/>
                      <a:pt x="156212" y="181158"/>
                      <a:pt x="156212" y="173288"/>
                    </a:cubicBezTo>
                    <a:cubicBezTo>
                      <a:pt x="156212" y="166903"/>
                      <a:pt x="154875" y="161260"/>
                      <a:pt x="152054" y="156657"/>
                    </a:cubicBezTo>
                    <a:cubicBezTo>
                      <a:pt x="149233" y="152054"/>
                      <a:pt x="145520" y="148045"/>
                      <a:pt x="140917" y="145075"/>
                    </a:cubicBezTo>
                    <a:cubicBezTo>
                      <a:pt x="136166" y="141957"/>
                      <a:pt x="130968" y="139432"/>
                      <a:pt x="124880" y="137353"/>
                    </a:cubicBezTo>
                    <a:cubicBezTo>
                      <a:pt x="118941" y="135275"/>
                      <a:pt x="112853" y="133493"/>
                      <a:pt x="106616" y="132156"/>
                    </a:cubicBezTo>
                    <a:lnTo>
                      <a:pt x="71127" y="124286"/>
                    </a:lnTo>
                    <a:cubicBezTo>
                      <a:pt x="62069" y="121910"/>
                      <a:pt x="53754" y="119238"/>
                      <a:pt x="46180" y="116119"/>
                    </a:cubicBezTo>
                    <a:cubicBezTo>
                      <a:pt x="38608" y="113001"/>
                      <a:pt x="31926" y="109289"/>
                      <a:pt x="26283" y="104686"/>
                    </a:cubicBezTo>
                    <a:cubicBezTo>
                      <a:pt x="20640" y="100231"/>
                      <a:pt x="16186" y="94588"/>
                      <a:pt x="12919" y="88055"/>
                    </a:cubicBezTo>
                    <a:cubicBezTo>
                      <a:pt x="9652" y="81521"/>
                      <a:pt x="8167" y="73354"/>
                      <a:pt x="8167" y="63702"/>
                    </a:cubicBezTo>
                    <a:cubicBezTo>
                      <a:pt x="8167" y="52269"/>
                      <a:pt x="10691" y="42468"/>
                      <a:pt x="15889" y="34301"/>
                    </a:cubicBezTo>
                    <a:cubicBezTo>
                      <a:pt x="20937" y="26134"/>
                      <a:pt x="27619" y="19601"/>
                      <a:pt x="35786" y="14552"/>
                    </a:cubicBezTo>
                    <a:cubicBezTo>
                      <a:pt x="43953" y="9652"/>
                      <a:pt x="53160" y="5940"/>
                      <a:pt x="63257" y="3564"/>
                    </a:cubicBezTo>
                    <a:cubicBezTo>
                      <a:pt x="73354" y="1188"/>
                      <a:pt x="83303" y="0"/>
                      <a:pt x="93252" y="0"/>
                    </a:cubicBezTo>
                    <a:cubicBezTo>
                      <a:pt x="104686" y="0"/>
                      <a:pt x="115229" y="1485"/>
                      <a:pt x="125029" y="4306"/>
                    </a:cubicBezTo>
                    <a:cubicBezTo>
                      <a:pt x="134829" y="7276"/>
                      <a:pt x="143442" y="11731"/>
                      <a:pt x="150866" y="17967"/>
                    </a:cubicBezTo>
                    <a:cubicBezTo>
                      <a:pt x="158291" y="24055"/>
                      <a:pt x="164230" y="31628"/>
                      <a:pt x="168685" y="40835"/>
                    </a:cubicBezTo>
                    <a:cubicBezTo>
                      <a:pt x="172991" y="49893"/>
                      <a:pt x="175515" y="60584"/>
                      <a:pt x="176109" y="72909"/>
                    </a:cubicBezTo>
                    <a:lnTo>
                      <a:pt x="148193" y="7290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6F208B1B-D97C-40F5-AAA3-D7FC9D11B302}"/>
                  </a:ext>
                </a:extLst>
              </p:cNvPr>
              <p:cNvSpPr/>
              <p:nvPr/>
            </p:nvSpPr>
            <p:spPr>
              <a:xfrm>
                <a:off x="4516699" y="1684629"/>
                <a:ext cx="113446" cy="294307"/>
              </a:xfrm>
              <a:custGeom>
                <a:avLst/>
                <a:gdLst>
                  <a:gd name="connsiteX0" fmla="*/ 67415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5 w 113446"/>
                  <a:gd name="connsiteY3" fmla="*/ 91321 h 294307"/>
                  <a:gd name="connsiteX4" fmla="*/ 67415 w 113446"/>
                  <a:gd name="connsiteY4" fmla="*/ 241742 h 294307"/>
                  <a:gd name="connsiteX5" fmla="*/ 71127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8 w 113446"/>
                  <a:gd name="connsiteY18" fmla="*/ 0 h 294307"/>
                  <a:gd name="connsiteX19" fmla="*/ 67118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5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5" y="91321"/>
                    </a:lnTo>
                    <a:lnTo>
                      <a:pt x="67415" y="241742"/>
                    </a:lnTo>
                    <a:cubicBezTo>
                      <a:pt x="67415" y="250651"/>
                      <a:pt x="68603" y="257630"/>
                      <a:pt x="71127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6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8" y="0"/>
                    </a:lnTo>
                    <a:lnTo>
                      <a:pt x="67118" y="6800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A85CD5E2-2B6E-4758-A001-314EACF28BC2}"/>
                  </a:ext>
                </a:extLst>
              </p:cNvPr>
              <p:cNvSpPr/>
              <p:nvPr/>
            </p:nvSpPr>
            <p:spPr>
              <a:xfrm>
                <a:off x="4670386" y="1665919"/>
                <a:ext cx="27618" cy="313017"/>
              </a:xfrm>
              <a:custGeom>
                <a:avLst/>
                <a:gdLst>
                  <a:gd name="connsiteX0" fmla="*/ 0 w 27618"/>
                  <a:gd name="connsiteY0" fmla="*/ 0 h 313017"/>
                  <a:gd name="connsiteX1" fmla="*/ 27619 w 27618"/>
                  <a:gd name="connsiteY1" fmla="*/ 0 h 313017"/>
                  <a:gd name="connsiteX2" fmla="*/ 27619 w 27618"/>
                  <a:gd name="connsiteY2" fmla="*/ 44250 h 313017"/>
                  <a:gd name="connsiteX3" fmla="*/ 0 w 27618"/>
                  <a:gd name="connsiteY3" fmla="*/ 44250 h 313017"/>
                  <a:gd name="connsiteX4" fmla="*/ 0 w 27618"/>
                  <a:gd name="connsiteY4" fmla="*/ 0 h 313017"/>
                  <a:gd name="connsiteX5" fmla="*/ 0 w 27618"/>
                  <a:gd name="connsiteY5" fmla="*/ 86718 h 313017"/>
                  <a:gd name="connsiteX6" fmla="*/ 27619 w 27618"/>
                  <a:gd name="connsiteY6" fmla="*/ 86718 h 313017"/>
                  <a:gd name="connsiteX7" fmla="*/ 27619 w 27618"/>
                  <a:gd name="connsiteY7" fmla="*/ 313017 h 313017"/>
                  <a:gd name="connsiteX8" fmla="*/ 0 w 27618"/>
                  <a:gd name="connsiteY8" fmla="*/ 313017 h 313017"/>
                  <a:gd name="connsiteX9" fmla="*/ 0 w 27618"/>
                  <a:gd name="connsiteY9" fmla="*/ 86718 h 313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18" h="313017">
                    <a:moveTo>
                      <a:pt x="0" y="0"/>
                    </a:moveTo>
                    <a:lnTo>
                      <a:pt x="27619" y="0"/>
                    </a:lnTo>
                    <a:lnTo>
                      <a:pt x="27619" y="44250"/>
                    </a:lnTo>
                    <a:lnTo>
                      <a:pt x="0" y="44250"/>
                    </a:lnTo>
                    <a:lnTo>
                      <a:pt x="0" y="0"/>
                    </a:lnTo>
                    <a:close/>
                    <a:moveTo>
                      <a:pt x="0" y="86718"/>
                    </a:moveTo>
                    <a:lnTo>
                      <a:pt x="27619" y="86718"/>
                    </a:lnTo>
                    <a:lnTo>
                      <a:pt x="27619" y="313017"/>
                    </a:lnTo>
                    <a:lnTo>
                      <a:pt x="0" y="313017"/>
                    </a:lnTo>
                    <a:lnTo>
                      <a:pt x="0" y="86718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F4F792BF-971D-4E5C-BACD-205E8AE49376}"/>
                  </a:ext>
                </a:extLst>
              </p:cNvPr>
              <p:cNvSpPr/>
              <p:nvPr/>
            </p:nvSpPr>
            <p:spPr>
              <a:xfrm>
                <a:off x="4742404" y="1684629"/>
                <a:ext cx="113446" cy="294307"/>
              </a:xfrm>
              <a:custGeom>
                <a:avLst/>
                <a:gdLst>
                  <a:gd name="connsiteX0" fmla="*/ 67414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4 w 113446"/>
                  <a:gd name="connsiteY3" fmla="*/ 91321 h 294307"/>
                  <a:gd name="connsiteX4" fmla="*/ 67414 w 113446"/>
                  <a:gd name="connsiteY4" fmla="*/ 241742 h 294307"/>
                  <a:gd name="connsiteX5" fmla="*/ 71126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7 w 113446"/>
                  <a:gd name="connsiteY18" fmla="*/ 0 h 294307"/>
                  <a:gd name="connsiteX19" fmla="*/ 67117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4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4" y="91321"/>
                    </a:lnTo>
                    <a:lnTo>
                      <a:pt x="67414" y="241742"/>
                    </a:lnTo>
                    <a:cubicBezTo>
                      <a:pt x="67414" y="250651"/>
                      <a:pt x="68602" y="257630"/>
                      <a:pt x="71126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5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7" y="0"/>
                    </a:lnTo>
                    <a:lnTo>
                      <a:pt x="67117" y="6800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C1453026-F29E-4BFB-94F8-22093B0CB6E3}"/>
                  </a:ext>
                </a:extLst>
              </p:cNvPr>
              <p:cNvSpPr/>
              <p:nvPr/>
            </p:nvSpPr>
            <p:spPr>
              <a:xfrm>
                <a:off x="4880648" y="1752637"/>
                <a:ext cx="183830" cy="226298"/>
              </a:xfrm>
              <a:custGeom>
                <a:avLst/>
                <a:gdLst>
                  <a:gd name="connsiteX0" fmla="*/ 183534 w 183830"/>
                  <a:gd name="connsiteY0" fmla="*/ 226299 h 226298"/>
                  <a:gd name="connsiteX1" fmla="*/ 158142 w 183830"/>
                  <a:gd name="connsiteY1" fmla="*/ 226299 h 226298"/>
                  <a:gd name="connsiteX2" fmla="*/ 158142 w 183830"/>
                  <a:gd name="connsiteY2" fmla="*/ 185464 h 226298"/>
                  <a:gd name="connsiteX3" fmla="*/ 157251 w 183830"/>
                  <a:gd name="connsiteY3" fmla="*/ 185464 h 226298"/>
                  <a:gd name="connsiteX4" fmla="*/ 125474 w 183830"/>
                  <a:gd name="connsiteY4" fmla="*/ 217241 h 226298"/>
                  <a:gd name="connsiteX5" fmla="*/ 79294 w 183830"/>
                  <a:gd name="connsiteY5" fmla="*/ 226299 h 226298"/>
                  <a:gd name="connsiteX6" fmla="*/ 42617 w 183830"/>
                  <a:gd name="connsiteY6" fmla="*/ 220508 h 226298"/>
                  <a:gd name="connsiteX7" fmla="*/ 18116 w 183830"/>
                  <a:gd name="connsiteY7" fmla="*/ 203877 h 226298"/>
                  <a:gd name="connsiteX8" fmla="*/ 4306 w 183830"/>
                  <a:gd name="connsiteY8" fmla="*/ 177446 h 226298"/>
                  <a:gd name="connsiteX9" fmla="*/ 0 w 183830"/>
                  <a:gd name="connsiteY9" fmla="*/ 142699 h 226298"/>
                  <a:gd name="connsiteX10" fmla="*/ 0 w 183830"/>
                  <a:gd name="connsiteY10" fmla="*/ 0 h 226298"/>
                  <a:gd name="connsiteX11" fmla="*/ 27619 w 183830"/>
                  <a:gd name="connsiteY11" fmla="*/ 0 h 226298"/>
                  <a:gd name="connsiteX12" fmla="*/ 27619 w 183830"/>
                  <a:gd name="connsiteY12" fmla="*/ 142699 h 226298"/>
                  <a:gd name="connsiteX13" fmla="*/ 41874 w 183830"/>
                  <a:gd name="connsiteY13" fmla="*/ 187692 h 226298"/>
                  <a:gd name="connsiteX14" fmla="*/ 88203 w 183830"/>
                  <a:gd name="connsiteY14" fmla="*/ 202986 h 226298"/>
                  <a:gd name="connsiteX15" fmla="*/ 118643 w 183830"/>
                  <a:gd name="connsiteY15" fmla="*/ 195561 h 226298"/>
                  <a:gd name="connsiteX16" fmla="*/ 139877 w 183830"/>
                  <a:gd name="connsiteY16" fmla="*/ 175812 h 226298"/>
                  <a:gd name="connsiteX17" fmla="*/ 152202 w 183830"/>
                  <a:gd name="connsiteY17" fmla="*/ 147599 h 226298"/>
                  <a:gd name="connsiteX18" fmla="*/ 156211 w 183830"/>
                  <a:gd name="connsiteY18" fmla="*/ 115080 h 226298"/>
                  <a:gd name="connsiteX19" fmla="*/ 156211 w 183830"/>
                  <a:gd name="connsiteY19" fmla="*/ 0 h 226298"/>
                  <a:gd name="connsiteX20" fmla="*/ 183831 w 183830"/>
                  <a:gd name="connsiteY20" fmla="*/ 0 h 226298"/>
                  <a:gd name="connsiteX21" fmla="*/ 183831 w 183830"/>
                  <a:gd name="connsiteY21" fmla="*/ 226299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83830" h="226298">
                    <a:moveTo>
                      <a:pt x="183534" y="226299"/>
                    </a:moveTo>
                    <a:lnTo>
                      <a:pt x="158142" y="226299"/>
                    </a:lnTo>
                    <a:lnTo>
                      <a:pt x="158142" y="185464"/>
                    </a:lnTo>
                    <a:lnTo>
                      <a:pt x="157251" y="185464"/>
                    </a:lnTo>
                    <a:cubicBezTo>
                      <a:pt x="149975" y="200610"/>
                      <a:pt x="139284" y="211301"/>
                      <a:pt x="125474" y="217241"/>
                    </a:cubicBezTo>
                    <a:cubicBezTo>
                      <a:pt x="111664" y="223181"/>
                      <a:pt x="96221" y="226299"/>
                      <a:pt x="79294" y="226299"/>
                    </a:cubicBezTo>
                    <a:cubicBezTo>
                      <a:pt x="65039" y="226299"/>
                      <a:pt x="52714" y="224369"/>
                      <a:pt x="42617" y="220508"/>
                    </a:cubicBezTo>
                    <a:cubicBezTo>
                      <a:pt x="32519" y="216647"/>
                      <a:pt x="24352" y="211153"/>
                      <a:pt x="18116" y="203877"/>
                    </a:cubicBezTo>
                    <a:cubicBezTo>
                      <a:pt x="11879" y="196601"/>
                      <a:pt x="7276" y="187840"/>
                      <a:pt x="4306" y="177446"/>
                    </a:cubicBezTo>
                    <a:cubicBezTo>
                      <a:pt x="1336" y="167051"/>
                      <a:pt x="0" y="155469"/>
                      <a:pt x="0" y="142699"/>
                    </a:cubicBezTo>
                    <a:lnTo>
                      <a:pt x="0" y="0"/>
                    </a:lnTo>
                    <a:lnTo>
                      <a:pt x="27619" y="0"/>
                    </a:lnTo>
                    <a:lnTo>
                      <a:pt x="27619" y="142699"/>
                    </a:lnTo>
                    <a:cubicBezTo>
                      <a:pt x="28213" y="162448"/>
                      <a:pt x="32965" y="177594"/>
                      <a:pt x="41874" y="187692"/>
                    </a:cubicBezTo>
                    <a:cubicBezTo>
                      <a:pt x="50783" y="197937"/>
                      <a:pt x="66226" y="202986"/>
                      <a:pt x="88203" y="202986"/>
                    </a:cubicBezTo>
                    <a:cubicBezTo>
                      <a:pt x="99934" y="202986"/>
                      <a:pt x="110031" y="200462"/>
                      <a:pt x="118643" y="195561"/>
                    </a:cubicBezTo>
                    <a:cubicBezTo>
                      <a:pt x="127256" y="190661"/>
                      <a:pt x="134383" y="183979"/>
                      <a:pt x="139877" y="175812"/>
                    </a:cubicBezTo>
                    <a:cubicBezTo>
                      <a:pt x="145372" y="167645"/>
                      <a:pt x="149530" y="158142"/>
                      <a:pt x="152202" y="147599"/>
                    </a:cubicBezTo>
                    <a:cubicBezTo>
                      <a:pt x="154875" y="136908"/>
                      <a:pt x="156211" y="126217"/>
                      <a:pt x="156211" y="115080"/>
                    </a:cubicBezTo>
                    <a:lnTo>
                      <a:pt x="156211" y="0"/>
                    </a:lnTo>
                    <a:lnTo>
                      <a:pt x="183831" y="0"/>
                    </a:lnTo>
                    <a:lnTo>
                      <a:pt x="183831" y="22629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1F9F2E02-8AA6-4D1D-BF87-B75A43EA0F86}"/>
                  </a:ext>
                </a:extLst>
              </p:cNvPr>
              <p:cNvSpPr/>
              <p:nvPr/>
            </p:nvSpPr>
            <p:spPr>
              <a:xfrm>
                <a:off x="5092692" y="1684629"/>
                <a:ext cx="113446" cy="294307"/>
              </a:xfrm>
              <a:custGeom>
                <a:avLst/>
                <a:gdLst>
                  <a:gd name="connsiteX0" fmla="*/ 67415 w 113446"/>
                  <a:gd name="connsiteY0" fmla="*/ 68009 h 294307"/>
                  <a:gd name="connsiteX1" fmla="*/ 113446 w 113446"/>
                  <a:gd name="connsiteY1" fmla="*/ 68009 h 294307"/>
                  <a:gd name="connsiteX2" fmla="*/ 113446 w 113446"/>
                  <a:gd name="connsiteY2" fmla="*/ 91321 h 294307"/>
                  <a:gd name="connsiteX3" fmla="*/ 67415 w 113446"/>
                  <a:gd name="connsiteY3" fmla="*/ 91321 h 294307"/>
                  <a:gd name="connsiteX4" fmla="*/ 67415 w 113446"/>
                  <a:gd name="connsiteY4" fmla="*/ 241742 h 294307"/>
                  <a:gd name="connsiteX5" fmla="*/ 71127 w 113446"/>
                  <a:gd name="connsiteY5" fmla="*/ 262679 h 294307"/>
                  <a:gd name="connsiteX6" fmla="*/ 89688 w 113446"/>
                  <a:gd name="connsiteY6" fmla="*/ 271143 h 294307"/>
                  <a:gd name="connsiteX7" fmla="*/ 113298 w 113446"/>
                  <a:gd name="connsiteY7" fmla="*/ 269807 h 294307"/>
                  <a:gd name="connsiteX8" fmla="*/ 113298 w 113446"/>
                  <a:gd name="connsiteY8" fmla="*/ 293417 h 294307"/>
                  <a:gd name="connsiteX9" fmla="*/ 100973 w 113446"/>
                  <a:gd name="connsiteY9" fmla="*/ 293862 h 294307"/>
                  <a:gd name="connsiteX10" fmla="*/ 88649 w 113446"/>
                  <a:gd name="connsiteY10" fmla="*/ 294307 h 294307"/>
                  <a:gd name="connsiteX11" fmla="*/ 50041 w 113446"/>
                  <a:gd name="connsiteY11" fmla="*/ 283468 h 294307"/>
                  <a:gd name="connsiteX12" fmla="*/ 39498 w 113446"/>
                  <a:gd name="connsiteY12" fmla="*/ 244118 h 294307"/>
                  <a:gd name="connsiteX13" fmla="*/ 39498 w 113446"/>
                  <a:gd name="connsiteY13" fmla="*/ 91321 h 294307"/>
                  <a:gd name="connsiteX14" fmla="*/ 0 w 113446"/>
                  <a:gd name="connsiteY14" fmla="*/ 91321 h 294307"/>
                  <a:gd name="connsiteX15" fmla="*/ 0 w 113446"/>
                  <a:gd name="connsiteY15" fmla="*/ 68009 h 294307"/>
                  <a:gd name="connsiteX16" fmla="*/ 39498 w 113446"/>
                  <a:gd name="connsiteY16" fmla="*/ 68009 h 294307"/>
                  <a:gd name="connsiteX17" fmla="*/ 39498 w 113446"/>
                  <a:gd name="connsiteY17" fmla="*/ 0 h 294307"/>
                  <a:gd name="connsiteX18" fmla="*/ 67117 w 113446"/>
                  <a:gd name="connsiteY18" fmla="*/ 0 h 294307"/>
                  <a:gd name="connsiteX19" fmla="*/ 67117 w 113446"/>
                  <a:gd name="connsiteY19" fmla="*/ 68009 h 29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446" h="294307">
                    <a:moveTo>
                      <a:pt x="67415" y="68009"/>
                    </a:moveTo>
                    <a:lnTo>
                      <a:pt x="113446" y="68009"/>
                    </a:lnTo>
                    <a:lnTo>
                      <a:pt x="113446" y="91321"/>
                    </a:lnTo>
                    <a:lnTo>
                      <a:pt x="67415" y="91321"/>
                    </a:lnTo>
                    <a:lnTo>
                      <a:pt x="67415" y="241742"/>
                    </a:lnTo>
                    <a:cubicBezTo>
                      <a:pt x="67415" y="250651"/>
                      <a:pt x="68602" y="257630"/>
                      <a:pt x="71127" y="262679"/>
                    </a:cubicBezTo>
                    <a:cubicBezTo>
                      <a:pt x="73651" y="267728"/>
                      <a:pt x="79739" y="270549"/>
                      <a:pt x="89688" y="271143"/>
                    </a:cubicBezTo>
                    <a:cubicBezTo>
                      <a:pt x="97558" y="271143"/>
                      <a:pt x="105428" y="270697"/>
                      <a:pt x="113298" y="269807"/>
                    </a:cubicBezTo>
                    <a:lnTo>
                      <a:pt x="113298" y="293417"/>
                    </a:lnTo>
                    <a:cubicBezTo>
                      <a:pt x="109140" y="293417"/>
                      <a:pt x="105131" y="293565"/>
                      <a:pt x="100973" y="293862"/>
                    </a:cubicBezTo>
                    <a:cubicBezTo>
                      <a:pt x="96815" y="294159"/>
                      <a:pt x="92806" y="294307"/>
                      <a:pt x="88649" y="294307"/>
                    </a:cubicBezTo>
                    <a:cubicBezTo>
                      <a:pt x="70236" y="294307"/>
                      <a:pt x="57317" y="290744"/>
                      <a:pt x="50041" y="283468"/>
                    </a:cubicBezTo>
                    <a:cubicBezTo>
                      <a:pt x="42765" y="276192"/>
                      <a:pt x="39201" y="263125"/>
                      <a:pt x="39498" y="244118"/>
                    </a:cubicBezTo>
                    <a:lnTo>
                      <a:pt x="39498" y="91321"/>
                    </a:lnTo>
                    <a:lnTo>
                      <a:pt x="0" y="91321"/>
                    </a:lnTo>
                    <a:lnTo>
                      <a:pt x="0" y="68009"/>
                    </a:lnTo>
                    <a:lnTo>
                      <a:pt x="39498" y="68009"/>
                    </a:lnTo>
                    <a:lnTo>
                      <a:pt x="39498" y="0"/>
                    </a:lnTo>
                    <a:lnTo>
                      <a:pt x="67117" y="0"/>
                    </a:lnTo>
                    <a:lnTo>
                      <a:pt x="67117" y="68009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CBA475A4-DA4D-44A5-A9C2-573C04E2ACAE}"/>
                  </a:ext>
                </a:extLst>
              </p:cNvPr>
              <p:cNvSpPr/>
              <p:nvPr/>
            </p:nvSpPr>
            <p:spPr>
              <a:xfrm>
                <a:off x="5234500" y="1752489"/>
                <a:ext cx="201934" cy="226298"/>
              </a:xfrm>
              <a:custGeom>
                <a:avLst/>
                <a:gdLst>
                  <a:gd name="connsiteX0" fmla="*/ 27768 w 201934"/>
                  <a:gd name="connsiteY0" fmla="*/ 120722 h 226298"/>
                  <a:gd name="connsiteX1" fmla="*/ 32074 w 201934"/>
                  <a:gd name="connsiteY1" fmla="*/ 149530 h 226298"/>
                  <a:gd name="connsiteX2" fmla="*/ 45290 w 201934"/>
                  <a:gd name="connsiteY2" fmla="*/ 175961 h 226298"/>
                  <a:gd name="connsiteX3" fmla="*/ 68306 w 201934"/>
                  <a:gd name="connsiteY3" fmla="*/ 195413 h 226298"/>
                  <a:gd name="connsiteX4" fmla="*/ 102310 w 201934"/>
                  <a:gd name="connsiteY4" fmla="*/ 203134 h 226298"/>
                  <a:gd name="connsiteX5" fmla="*/ 149678 w 201934"/>
                  <a:gd name="connsiteY5" fmla="*/ 187098 h 226298"/>
                  <a:gd name="connsiteX6" fmla="*/ 173288 w 201934"/>
                  <a:gd name="connsiteY6" fmla="*/ 145223 h 226298"/>
                  <a:gd name="connsiteX7" fmla="*/ 200907 w 201934"/>
                  <a:gd name="connsiteY7" fmla="*/ 145223 h 226298"/>
                  <a:gd name="connsiteX8" fmla="*/ 168685 w 201934"/>
                  <a:gd name="connsiteY8" fmla="*/ 205065 h 226298"/>
                  <a:gd name="connsiteX9" fmla="*/ 102310 w 201934"/>
                  <a:gd name="connsiteY9" fmla="*/ 226299 h 226298"/>
                  <a:gd name="connsiteX10" fmla="*/ 55832 w 201934"/>
                  <a:gd name="connsiteY10" fmla="*/ 217241 h 226298"/>
                  <a:gd name="connsiteX11" fmla="*/ 24204 w 201934"/>
                  <a:gd name="connsiteY11" fmla="*/ 192592 h 226298"/>
                  <a:gd name="connsiteX12" fmla="*/ 5940 w 201934"/>
                  <a:gd name="connsiteY12" fmla="*/ 156509 h 226298"/>
                  <a:gd name="connsiteX13" fmla="*/ 0 w 201934"/>
                  <a:gd name="connsiteY13" fmla="*/ 113149 h 226298"/>
                  <a:gd name="connsiteX14" fmla="*/ 5940 w 201934"/>
                  <a:gd name="connsiteY14" fmla="*/ 71721 h 226298"/>
                  <a:gd name="connsiteX15" fmla="*/ 24204 w 201934"/>
                  <a:gd name="connsiteY15" fmla="*/ 35489 h 226298"/>
                  <a:gd name="connsiteX16" fmla="*/ 55832 w 201934"/>
                  <a:gd name="connsiteY16" fmla="*/ 9800 h 226298"/>
                  <a:gd name="connsiteX17" fmla="*/ 102310 w 201934"/>
                  <a:gd name="connsiteY17" fmla="*/ 0 h 226298"/>
                  <a:gd name="connsiteX18" fmla="*/ 148787 w 201934"/>
                  <a:gd name="connsiteY18" fmla="*/ 10394 h 226298"/>
                  <a:gd name="connsiteX19" fmla="*/ 180119 w 201934"/>
                  <a:gd name="connsiteY19" fmla="*/ 37568 h 226298"/>
                  <a:gd name="connsiteX20" fmla="*/ 197492 w 201934"/>
                  <a:gd name="connsiteY20" fmla="*/ 76175 h 226298"/>
                  <a:gd name="connsiteX21" fmla="*/ 201798 w 201934"/>
                  <a:gd name="connsiteY21" fmla="*/ 120425 h 226298"/>
                  <a:gd name="connsiteX22" fmla="*/ 27768 w 201934"/>
                  <a:gd name="connsiteY22" fmla="*/ 120425 h 226298"/>
                  <a:gd name="connsiteX23" fmla="*/ 174328 w 201934"/>
                  <a:gd name="connsiteY23" fmla="*/ 97558 h 226298"/>
                  <a:gd name="connsiteX24" fmla="*/ 168833 w 201934"/>
                  <a:gd name="connsiteY24" fmla="*/ 69790 h 226298"/>
                  <a:gd name="connsiteX25" fmla="*/ 154578 w 201934"/>
                  <a:gd name="connsiteY25" fmla="*/ 46180 h 226298"/>
                  <a:gd name="connsiteX26" fmla="*/ 132156 w 201934"/>
                  <a:gd name="connsiteY26" fmla="*/ 29698 h 226298"/>
                  <a:gd name="connsiteX27" fmla="*/ 102310 w 201934"/>
                  <a:gd name="connsiteY27" fmla="*/ 23461 h 226298"/>
                  <a:gd name="connsiteX28" fmla="*/ 72018 w 201934"/>
                  <a:gd name="connsiteY28" fmla="*/ 29698 h 226298"/>
                  <a:gd name="connsiteX29" fmla="*/ 49596 w 201934"/>
                  <a:gd name="connsiteY29" fmla="*/ 46180 h 226298"/>
                  <a:gd name="connsiteX30" fmla="*/ 34895 w 201934"/>
                  <a:gd name="connsiteY30" fmla="*/ 69939 h 226298"/>
                  <a:gd name="connsiteX31" fmla="*/ 27619 w 201934"/>
                  <a:gd name="connsiteY31" fmla="*/ 97558 h 226298"/>
                  <a:gd name="connsiteX32" fmla="*/ 174328 w 201934"/>
                  <a:gd name="connsiteY32" fmla="*/ 97558 h 226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01934" h="226298">
                    <a:moveTo>
                      <a:pt x="27768" y="120722"/>
                    </a:moveTo>
                    <a:cubicBezTo>
                      <a:pt x="27768" y="130226"/>
                      <a:pt x="29253" y="139878"/>
                      <a:pt x="32074" y="149530"/>
                    </a:cubicBezTo>
                    <a:cubicBezTo>
                      <a:pt x="35044" y="159330"/>
                      <a:pt x="39350" y="168091"/>
                      <a:pt x="45290" y="175961"/>
                    </a:cubicBezTo>
                    <a:cubicBezTo>
                      <a:pt x="51081" y="183831"/>
                      <a:pt x="58802" y="190364"/>
                      <a:pt x="68306" y="195413"/>
                    </a:cubicBezTo>
                    <a:cubicBezTo>
                      <a:pt x="77809" y="200610"/>
                      <a:pt x="89094" y="203134"/>
                      <a:pt x="102310" y="203134"/>
                    </a:cubicBezTo>
                    <a:cubicBezTo>
                      <a:pt x="122504" y="203134"/>
                      <a:pt x="138244" y="197789"/>
                      <a:pt x="149678" y="187098"/>
                    </a:cubicBezTo>
                    <a:cubicBezTo>
                      <a:pt x="161112" y="176406"/>
                      <a:pt x="168982" y="162448"/>
                      <a:pt x="173288" y="145223"/>
                    </a:cubicBezTo>
                    <a:lnTo>
                      <a:pt x="200907" y="145223"/>
                    </a:lnTo>
                    <a:cubicBezTo>
                      <a:pt x="195116" y="170912"/>
                      <a:pt x="184276" y="190958"/>
                      <a:pt x="168685" y="205065"/>
                    </a:cubicBezTo>
                    <a:cubicBezTo>
                      <a:pt x="153093" y="219320"/>
                      <a:pt x="130968" y="226299"/>
                      <a:pt x="102310" y="226299"/>
                    </a:cubicBezTo>
                    <a:cubicBezTo>
                      <a:pt x="84194" y="226299"/>
                      <a:pt x="68751" y="223329"/>
                      <a:pt x="55832" y="217241"/>
                    </a:cubicBezTo>
                    <a:cubicBezTo>
                      <a:pt x="42914" y="211153"/>
                      <a:pt x="32371" y="202986"/>
                      <a:pt x="24204" y="192592"/>
                    </a:cubicBezTo>
                    <a:cubicBezTo>
                      <a:pt x="16037" y="182197"/>
                      <a:pt x="9949" y="170170"/>
                      <a:pt x="5940" y="156509"/>
                    </a:cubicBezTo>
                    <a:cubicBezTo>
                      <a:pt x="1930" y="142847"/>
                      <a:pt x="0" y="128444"/>
                      <a:pt x="0" y="113149"/>
                    </a:cubicBezTo>
                    <a:cubicBezTo>
                      <a:pt x="0" y="99043"/>
                      <a:pt x="1930" y="85233"/>
                      <a:pt x="5940" y="71721"/>
                    </a:cubicBezTo>
                    <a:cubicBezTo>
                      <a:pt x="9949" y="58208"/>
                      <a:pt x="15889" y="46032"/>
                      <a:pt x="24204" y="35489"/>
                    </a:cubicBezTo>
                    <a:cubicBezTo>
                      <a:pt x="32371" y="24798"/>
                      <a:pt x="42914" y="16334"/>
                      <a:pt x="55832" y="9800"/>
                    </a:cubicBezTo>
                    <a:cubicBezTo>
                      <a:pt x="68751" y="3267"/>
                      <a:pt x="84194" y="0"/>
                      <a:pt x="102310" y="0"/>
                    </a:cubicBezTo>
                    <a:cubicBezTo>
                      <a:pt x="120426" y="0"/>
                      <a:pt x="135868" y="3415"/>
                      <a:pt x="148787" y="10394"/>
                    </a:cubicBezTo>
                    <a:cubicBezTo>
                      <a:pt x="161706" y="17373"/>
                      <a:pt x="172100" y="26431"/>
                      <a:pt x="180119" y="37568"/>
                    </a:cubicBezTo>
                    <a:cubicBezTo>
                      <a:pt x="188137" y="48853"/>
                      <a:pt x="193928" y="61623"/>
                      <a:pt x="197492" y="76175"/>
                    </a:cubicBezTo>
                    <a:cubicBezTo>
                      <a:pt x="201056" y="90727"/>
                      <a:pt x="202392" y="105428"/>
                      <a:pt x="201798" y="120425"/>
                    </a:cubicBezTo>
                    <a:lnTo>
                      <a:pt x="27768" y="120425"/>
                    </a:lnTo>
                    <a:close/>
                    <a:moveTo>
                      <a:pt x="174328" y="97558"/>
                    </a:moveTo>
                    <a:cubicBezTo>
                      <a:pt x="174030" y="87906"/>
                      <a:pt x="172249" y="78700"/>
                      <a:pt x="168833" y="69790"/>
                    </a:cubicBezTo>
                    <a:cubicBezTo>
                      <a:pt x="165418" y="60881"/>
                      <a:pt x="160666" y="53011"/>
                      <a:pt x="154578" y="46180"/>
                    </a:cubicBezTo>
                    <a:cubicBezTo>
                      <a:pt x="148490" y="39350"/>
                      <a:pt x="140917" y="33856"/>
                      <a:pt x="132156" y="29698"/>
                    </a:cubicBezTo>
                    <a:cubicBezTo>
                      <a:pt x="123395" y="25540"/>
                      <a:pt x="113447" y="23461"/>
                      <a:pt x="102310" y="23461"/>
                    </a:cubicBezTo>
                    <a:cubicBezTo>
                      <a:pt x="90876" y="23461"/>
                      <a:pt x="80779" y="25540"/>
                      <a:pt x="72018" y="29698"/>
                    </a:cubicBezTo>
                    <a:cubicBezTo>
                      <a:pt x="63257" y="33856"/>
                      <a:pt x="55832" y="39350"/>
                      <a:pt x="49596" y="46180"/>
                    </a:cubicBezTo>
                    <a:cubicBezTo>
                      <a:pt x="43508" y="53011"/>
                      <a:pt x="38608" y="60881"/>
                      <a:pt x="34895" y="69939"/>
                    </a:cubicBezTo>
                    <a:cubicBezTo>
                      <a:pt x="31183" y="78997"/>
                      <a:pt x="28807" y="88055"/>
                      <a:pt x="27619" y="97558"/>
                    </a:cubicBezTo>
                    <a:lnTo>
                      <a:pt x="174328" y="97558"/>
                    </a:lnTo>
                    <a:close/>
                  </a:path>
                </a:pathLst>
              </a:custGeom>
              <a:grpFill/>
              <a:ln w="1484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729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85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025D8E-F272-442D-8F29-99B390C1A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8C9622B-7C14-41B0-982A-711A4154192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gray"/>
        <p:txBody>
          <a:bodyPr/>
          <a:lstStyle/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3595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5C9B6D6-788B-4D57-9FF3-7F6ED67E03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23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5C9B6D6-788B-4D57-9FF3-7F6ED67E03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47A0B01-D0A5-48C5-9A87-57ADE1E069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Contact</a:t>
            </a:r>
            <a:endParaRPr lang="en-US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AAF13E8-1E8D-4715-8E50-07B3B554EEB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6" b="36084"/>
          <a:stretch/>
        </p:blipFill>
        <p:spPr bwMode="gray">
          <a:xfrm>
            <a:off x="839788" y="1700213"/>
            <a:ext cx="3173419" cy="2727560"/>
          </a:xfrm>
          <a:prstGeom prst="rect">
            <a:avLst/>
          </a:prstGeom>
        </p:spPr>
      </p:pic>
      <p:sp>
        <p:nvSpPr>
          <p:cNvPr id="8" name="Textfeld 3">
            <a:extLst>
              <a:ext uri="{FF2B5EF4-FFF2-40B4-BE49-F238E27FC236}">
                <a16:creationId xmlns:a16="http://schemas.microsoft.com/office/drawing/2014/main" id="{234B2F50-3837-48FB-A517-DAA32DF1CF45}"/>
              </a:ext>
            </a:extLst>
          </p:cNvPr>
          <p:cNvSpPr txBox="1">
            <a:spLocks/>
          </p:cNvSpPr>
          <p:nvPr/>
        </p:nvSpPr>
        <p:spPr>
          <a:xfrm>
            <a:off x="4373348" y="1708241"/>
            <a:ext cx="3445303" cy="1261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>
            <a:spAutoFit/>
          </a:bodyPr>
          <a:lstStyle/>
          <a:p>
            <a:pPr defTabSz="608940" hangingPunct="0">
              <a:defRPr>
                <a:solidFill>
                  <a:srgbClr val="5E6061"/>
                </a:solidFill>
              </a:defRPr>
            </a:pPr>
            <a:r>
              <a:rPr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TEC Leadership Institute GmbH </a:t>
            </a:r>
          </a:p>
          <a:p>
            <a:pPr defTabSz="608940" hangingPunct="0">
              <a:defRPr>
                <a:solidFill>
                  <a:srgbClr val="5E6061"/>
                </a:solidFill>
              </a:defRPr>
            </a:pPr>
            <a:r>
              <a:rPr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www.tec-leadership-institute.co</a:t>
            </a:r>
            <a:r>
              <a:rPr lang="de-DE"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m</a:t>
            </a:r>
            <a:endParaRPr sz="1599" kern="0" dirty="0">
              <a:solidFill>
                <a:schemeClr val="tx2"/>
              </a:solidFill>
              <a:latin typeface="+mj-lt"/>
              <a:cs typeface="Calibri" panose="020F0502020204030204" pitchFamily="34" charset="0"/>
              <a:sym typeface="Calibri"/>
            </a:endParaRPr>
          </a:p>
          <a:p>
            <a:pPr defTabSz="608940" hangingPunct="0">
              <a:defRPr>
                <a:solidFill>
                  <a:srgbClr val="5E6061"/>
                </a:solidFill>
              </a:defRPr>
            </a:pPr>
            <a:r>
              <a:rPr lang="de-DE"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www.christinemccarthy.org</a:t>
            </a:r>
            <a:endParaRPr sz="1599" kern="0" dirty="0">
              <a:solidFill>
                <a:schemeClr val="tx2"/>
              </a:solidFill>
              <a:latin typeface="+mj-lt"/>
              <a:cs typeface="Calibri" panose="020F0502020204030204" pitchFamily="34" charset="0"/>
              <a:sym typeface="Calibri"/>
            </a:endParaRPr>
          </a:p>
          <a:p>
            <a:pPr defTabSz="608940" hangingPunct="0">
              <a:defRPr>
                <a:solidFill>
                  <a:srgbClr val="5E6061"/>
                </a:solidFill>
              </a:defRPr>
            </a:pPr>
            <a:r>
              <a:rPr lang="en-DE"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+ 172 6713670</a:t>
            </a:r>
            <a:endParaRPr lang="de-DE" sz="1599" kern="0" dirty="0">
              <a:solidFill>
                <a:schemeClr val="tx2"/>
              </a:solidFill>
              <a:latin typeface="+mj-lt"/>
              <a:cs typeface="Calibri" panose="020F0502020204030204" pitchFamily="34" charset="0"/>
              <a:sym typeface="Calibri"/>
            </a:endParaRPr>
          </a:p>
          <a:p>
            <a:pPr defTabSz="608940" hangingPunct="0">
              <a:defRPr>
                <a:solidFill>
                  <a:srgbClr val="5E6061"/>
                </a:solidFill>
              </a:defRPr>
            </a:pPr>
            <a:r>
              <a:rPr sz="15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Tel: + 49 8151/95 94 96</a:t>
            </a:r>
            <a:endParaRPr lang="de-DE" sz="1599" kern="0" dirty="0">
              <a:solidFill>
                <a:schemeClr val="tx2"/>
              </a:solidFill>
              <a:latin typeface="+mj-lt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424795-1E15-40CF-B2C5-54D5D5C46747}"/>
              </a:ext>
            </a:extLst>
          </p:cNvPr>
          <p:cNvSpPr txBox="1">
            <a:spLocks/>
          </p:cNvSpPr>
          <p:nvPr/>
        </p:nvSpPr>
        <p:spPr>
          <a:xfrm>
            <a:off x="838200" y="4633473"/>
            <a:ext cx="3173419" cy="7378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defTabSz="608940" hangingPunct="0"/>
            <a:r>
              <a:rPr lang="de-DE" sz="1999" kern="0" dirty="0">
                <a:solidFill>
                  <a:schemeClr val="accent3"/>
                </a:solidFill>
                <a:latin typeface="+mj-lt"/>
                <a:cs typeface="Calibri" panose="020F0502020204030204" pitchFamily="34" charset="0"/>
                <a:sym typeface="Calibri"/>
              </a:rPr>
              <a:t>Christine McCarthy</a:t>
            </a:r>
            <a:br>
              <a:rPr lang="de-DE" sz="1598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Calibri" panose="020F0502020204030204" pitchFamily="34" charset="0"/>
                <a:sym typeface="Calibri"/>
              </a:rPr>
            </a:br>
            <a:r>
              <a:rPr lang="de-DE" sz="13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Coach &amp; </a:t>
            </a:r>
            <a:r>
              <a:rPr lang="de-DE" sz="1399" kern="0" dirty="0" err="1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Facilitator</a:t>
            </a:r>
            <a:endParaRPr lang="de-DE" sz="1399" kern="0" dirty="0">
              <a:solidFill>
                <a:schemeClr val="tx2"/>
              </a:solidFill>
              <a:latin typeface="+mj-lt"/>
              <a:cs typeface="Calibri" panose="020F0502020204030204" pitchFamily="34" charset="0"/>
              <a:sym typeface="Calibri"/>
            </a:endParaRPr>
          </a:p>
          <a:p>
            <a:pPr defTabSz="608940" hangingPunct="0"/>
            <a:r>
              <a:rPr lang="de-DE" sz="13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.mccarthy@tec-leadership-institute.com</a:t>
            </a:r>
            <a:r>
              <a:rPr lang="de-DE" sz="1399" kern="0" dirty="0">
                <a:solidFill>
                  <a:schemeClr val="tx2"/>
                </a:solidFill>
                <a:latin typeface="+mj-lt"/>
                <a:cs typeface="Calibri" panose="020F0502020204030204" pitchFamily="34" charset="0"/>
                <a:sym typeface="Calibri"/>
              </a:rPr>
              <a:t>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A78DECF-507F-458E-A639-8FFB6699868C}"/>
              </a:ext>
            </a:extLst>
          </p:cNvPr>
          <p:cNvSpPr>
            <a:spLocks/>
          </p:cNvSpPr>
          <p:nvPr/>
        </p:nvSpPr>
        <p:spPr>
          <a:xfrm>
            <a:off x="839788" y="4295763"/>
            <a:ext cx="3173419" cy="132010"/>
          </a:xfrm>
          <a:prstGeom prst="rect">
            <a:avLst/>
          </a:prstGeom>
          <a:gradFill>
            <a:gsLst>
              <a:gs pos="69000">
                <a:srgbClr val="00A3C6"/>
              </a:gs>
              <a:gs pos="45000">
                <a:srgbClr val="00A3C6"/>
              </a:gs>
              <a:gs pos="21000">
                <a:srgbClr val="00A3C6"/>
              </a:gs>
              <a:gs pos="0">
                <a:schemeClr val="tx1">
                  <a:lumMod val="50000"/>
                  <a:lumOff val="50000"/>
                </a:schemeClr>
              </a:gs>
              <a:gs pos="100000">
                <a:schemeClr val="accent3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algn="ctr" defTabSz="913943">
              <a:defRPr/>
            </a:pPr>
            <a:endParaRPr lang="en-US" sz="1799" b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9474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rt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464800" cy="457200"/>
          </a:xfrm>
        </p:spPr>
        <p:txBody>
          <a:bodyPr anchor="t">
            <a:noAutofit/>
          </a:bodyPr>
          <a:lstStyle>
            <a:lvl1pPr algn="l"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SmartArt Placeholder 8"/>
          <p:cNvSpPr>
            <a:spLocks noGrp="1"/>
          </p:cNvSpPr>
          <p:nvPr>
            <p:ph type="dgm" sz="quarter" idx="12"/>
          </p:nvPr>
        </p:nvSpPr>
        <p:spPr>
          <a:xfrm>
            <a:off x="711200" y="2133600"/>
            <a:ext cx="10871200" cy="4114800"/>
          </a:xfrm>
        </p:spPr>
        <p:txBody>
          <a:bodyPr rtlCol="0">
            <a:normAutofit/>
          </a:bodyPr>
          <a:lstStyle/>
          <a:p>
            <a:pPr lvl="0"/>
            <a:r>
              <a:rPr lang="de-DE" noProof="0"/>
              <a:t>Klicken Sie auf das Symbol, um die SmartArt-Grafik hinzuzufügen</a:t>
            </a:r>
            <a:endParaRPr lang="en-US" noProof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609600" y="1219200"/>
            <a:ext cx="10972800" cy="914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533" y="561536"/>
            <a:ext cx="10446043" cy="3528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609600" y="6467484"/>
            <a:ext cx="5791200" cy="2730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9A9B9C"/>
                </a:solidFill>
              </a:rPr>
              <a:t>Project Management Module 1 |  © TEC Leadership Institute GmbH</a:t>
            </a:r>
          </a:p>
        </p:txBody>
      </p:sp>
    </p:spTree>
    <p:extLst>
      <p:ext uri="{BB962C8B-B14F-4D97-AF65-F5344CB8AC3E}">
        <p14:creationId xmlns:p14="http://schemas.microsoft.com/office/powerpoint/2010/main" val="394460786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291A01C-CE17-472B-B3B8-6D137EEA9FC7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13551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06" imgH="306" progId="TCLayout.ActiveDocument.1">
                  <p:embed/>
                </p:oleObj>
              </mc:Choice>
              <mc:Fallback>
                <p:oleObj name="think-cell Folie" r:id="rId12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291A01C-CE17-472B-B3B8-6D137EEA9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8F62121A-2D2F-4188-8D43-70BA751C98A0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E5F7E34-D2C9-4A8A-AD00-12591FC17F4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39787" y="750907"/>
            <a:ext cx="10512425" cy="5539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21EBC1-F4EB-4572-8C5E-44E1867C9C9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839788" y="1700213"/>
            <a:ext cx="10512424" cy="42132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3140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3725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529">
          <p15:clr>
            <a:srgbClr val="F26B43"/>
          </p15:clr>
        </p15:guide>
        <p15:guide id="6" pos="7151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ABA3D1-2541-6FDF-B919-93825F2AE7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788" y="1969849"/>
            <a:ext cx="10512424" cy="4608533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Wo fange ich an?</a:t>
            </a:r>
          </a:p>
          <a:p>
            <a:endParaRPr lang="de-DE" dirty="0"/>
          </a:p>
          <a:p>
            <a:endParaRPr lang="de-DE" dirty="0"/>
          </a:p>
          <a:p>
            <a:pPr marL="342900" indent="-342900">
              <a:buAutoNum type="arabicPeriod"/>
            </a:pPr>
            <a:r>
              <a:rPr lang="de-DE" b="1" dirty="0"/>
              <a:t>People </a:t>
            </a:r>
            <a:r>
              <a:rPr lang="de-DE" b="1" dirty="0" err="1"/>
              <a:t>first</a:t>
            </a:r>
            <a:r>
              <a:rPr lang="de-DE" b="1" dirty="0"/>
              <a:t>!</a:t>
            </a:r>
            <a:r>
              <a:rPr lang="de-DE" dirty="0"/>
              <a:t> Sprich mir deinen Stakeholdern und verschafft euch Klarheit über das Problem</a:t>
            </a:r>
          </a:p>
          <a:p>
            <a:pPr marL="342900" indent="-342900">
              <a:buAutoNum type="arabicPeriod"/>
            </a:pPr>
            <a:r>
              <a:rPr lang="de-DE" dirty="0"/>
              <a:t>Definiert die </a:t>
            </a:r>
            <a:r>
              <a:rPr lang="de-DE" b="1" dirty="0"/>
              <a:t>Rollen und Verantwortlichkeiten neu</a:t>
            </a:r>
            <a:endParaRPr lang="de-DE" dirty="0"/>
          </a:p>
          <a:p>
            <a:pPr marL="342900" indent="-342900">
              <a:buAutoNum type="arabicPeriod"/>
            </a:pPr>
            <a:r>
              <a:rPr lang="de-DE" dirty="0"/>
              <a:t>Grenzt die negative </a:t>
            </a:r>
            <a:r>
              <a:rPr lang="de-DE" b="1" dirty="0"/>
              <a:t>Folgen</a:t>
            </a:r>
            <a:r>
              <a:rPr lang="de-DE" dirty="0"/>
              <a:t> ein</a:t>
            </a:r>
            <a:endParaRPr lang="de-DE" b="1" dirty="0"/>
          </a:p>
          <a:p>
            <a:pPr marL="719138" lvl="1" indent="-342900">
              <a:buFont typeface="+mj-lt"/>
              <a:buAutoNum type="alphaLcParenR"/>
            </a:pPr>
            <a:r>
              <a:rPr lang="de-DE" b="1" dirty="0"/>
              <a:t>Gefahr für Leib und Leben abwenden </a:t>
            </a:r>
            <a:r>
              <a:rPr lang="de-DE" dirty="0"/>
              <a:t>– jedes Mittel ist recht</a:t>
            </a:r>
          </a:p>
          <a:p>
            <a:pPr marL="719138" lvl="1" indent="-342900">
              <a:buFont typeface="+mj-lt"/>
              <a:buAutoNum type="alphaLcParenR"/>
            </a:pPr>
            <a:r>
              <a:rPr lang="de-DE" b="1" dirty="0"/>
              <a:t>Ursachenforschung</a:t>
            </a:r>
            <a:r>
              <a:rPr lang="de-DE" dirty="0"/>
              <a:t> zur nachhaltigen Lösung des Problems oder Strukturfehlers im System</a:t>
            </a:r>
            <a:endParaRPr lang="de-DE" b="1" dirty="0"/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Handel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 err="1"/>
              <a:t>Depriorisieren</a:t>
            </a:r>
            <a:r>
              <a:rPr lang="de-DE" dirty="0"/>
              <a:t> andere Aktivitäten für maximalen Fokus 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Tägliche </a:t>
            </a:r>
            <a:r>
              <a:rPr lang="de-DE" dirty="0"/>
              <a:t>(mehrmals) </a:t>
            </a:r>
            <a:r>
              <a:rPr lang="de-DE" b="1" dirty="0"/>
              <a:t>synchronisieren </a:t>
            </a:r>
            <a:r>
              <a:rPr lang="de-DE" dirty="0"/>
              <a:t>und abstimmen in </a:t>
            </a:r>
            <a:r>
              <a:rPr lang="de-DE" b="1" dirty="0"/>
              <a:t>kürzeren Iterationen 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Kommuniziere </a:t>
            </a:r>
            <a:r>
              <a:rPr lang="de-DE" dirty="0"/>
              <a:t>den Fortschritt täglich an die Schlüsselpersonen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/>
              <a:t>Visualisiere</a:t>
            </a:r>
            <a:r>
              <a:rPr lang="de-DE" dirty="0"/>
              <a:t> die zentralen Daten/Informationen, mach sie leicht auffindbar/zugänglich für alle relevanten Person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Reflektiert die </a:t>
            </a:r>
            <a:r>
              <a:rPr lang="de-DE" b="1" dirty="0"/>
              <a:t>STOP Kriteri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Definiert </a:t>
            </a:r>
            <a:r>
              <a:rPr lang="de-DE" b="1" dirty="0"/>
              <a:t>wann die Krise vorüber ist </a:t>
            </a:r>
            <a:r>
              <a:rPr lang="de-DE" dirty="0"/>
              <a:t>und ihr wieder in den regulären Modus wechselt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Sämtliche </a:t>
            </a:r>
            <a:r>
              <a:rPr lang="de-DE" b="1" dirty="0"/>
              <a:t>Projektpläne neu bewerten</a:t>
            </a:r>
            <a:r>
              <a:rPr lang="de-DE" dirty="0"/>
              <a:t>, aktualisieren und eine neue Baseline kommunizieren</a:t>
            </a:r>
          </a:p>
          <a:p>
            <a:pPr marL="342900" indent="-342900">
              <a:buFont typeface="+mj-lt"/>
              <a:buAutoNum type="arabicPeriod"/>
            </a:pPr>
            <a:r>
              <a:rPr lang="de-DE" dirty="0"/>
              <a:t>Gönnt Beteiligten allen eine </a:t>
            </a:r>
            <a:r>
              <a:rPr lang="de-DE" b="1" dirty="0"/>
              <a:t>Pause</a:t>
            </a:r>
            <a:endParaRPr lang="de-DE" dirty="0"/>
          </a:p>
          <a:p>
            <a:pPr marL="342900" indent="-342900">
              <a:buAutoNum type="arabicPeriod"/>
            </a:pPr>
            <a:endParaRPr lang="de-DE" dirty="0"/>
          </a:p>
        </p:txBody>
      </p:sp>
      <p:pic>
        <p:nvPicPr>
          <p:cNvPr id="3" name="Picture 2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DD70E801-0BEE-9E0C-7191-EB9F78242D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1755" y="279618"/>
            <a:ext cx="2666029" cy="53942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10611E6B-B3EB-1AD3-26ED-63B8862D59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2173"/>
            <a:ext cx="11155532" cy="1325563"/>
          </a:xfrm>
        </p:spPr>
        <p:txBody>
          <a:bodyPr/>
          <a:lstStyle/>
          <a:p>
            <a:r>
              <a:rPr lang="de-DE" b="1" dirty="0"/>
              <a:t>Projekt in der Krise: </a:t>
            </a:r>
            <a:br>
              <a:rPr lang="de-DE" dirty="0"/>
            </a:br>
            <a:r>
              <a:rPr lang="de-DE" sz="3500" dirty="0"/>
              <a:t>Gestärkt wieder raus – dein Checkliste</a:t>
            </a:r>
          </a:p>
        </p:txBody>
      </p:sp>
    </p:spTree>
    <p:extLst>
      <p:ext uri="{BB962C8B-B14F-4D97-AF65-F5344CB8AC3E}">
        <p14:creationId xmlns:p14="http://schemas.microsoft.com/office/powerpoint/2010/main" val="964369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lylLDYPTBS6WEF8ATG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HPm1rF5jmAfd8HHviR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C Theme">
  <a:themeElements>
    <a:clrScheme name="TEC_Leaderschip_Institute_Farben">
      <a:dk1>
        <a:srgbClr val="3F3F3F"/>
      </a:dk1>
      <a:lt1>
        <a:srgbClr val="FFFFFF"/>
      </a:lt1>
      <a:dk2>
        <a:srgbClr val="3F3F3F"/>
      </a:dk2>
      <a:lt2>
        <a:srgbClr val="FFFFFF"/>
      </a:lt2>
      <a:accent1>
        <a:srgbClr val="00A3C6"/>
      </a:accent1>
      <a:accent2>
        <a:srgbClr val="3F3F3F"/>
      </a:accent2>
      <a:accent3>
        <a:srgbClr val="6B6B6B"/>
      </a:accent3>
      <a:accent4>
        <a:srgbClr val="A6A6A6"/>
      </a:accent4>
      <a:accent5>
        <a:srgbClr val="D9D9D9"/>
      </a:accent5>
      <a:accent6>
        <a:srgbClr val="6AC335"/>
      </a:accent6>
      <a:hlink>
        <a:srgbClr val="6B6B6B"/>
      </a:hlink>
      <a:folHlink>
        <a:srgbClr val="A6A6A6"/>
      </a:folHlink>
    </a:clrScheme>
    <a:fontScheme name="CMCC_Schriften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lIns="108000" tIns="72000" rIns="108000" bIns="72000" rtlCol="0" anchor="t"/>
      <a:lstStyle>
        <a:defPPr algn="l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C Theme" id="{E6411AF5-7D73-A549-9C50-61295E89A2B5}" vid="{D0D250FD-8EAA-7145-B612-87BB346AB6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8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Symbol</vt:lpstr>
      <vt:lpstr>TEC Theme</vt:lpstr>
      <vt:lpstr>think-cell Folie</vt:lpstr>
      <vt:lpstr>Projekt in der Krise:  Gestärkt wieder raus – dein Checklis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cey Matrix: Das richtige Vorgehen definieren</dc:title>
  <dc:creator>Chris Schiebel</dc:creator>
  <cp:lastModifiedBy>Chris Schiebel</cp:lastModifiedBy>
  <cp:revision>5</cp:revision>
  <dcterms:created xsi:type="dcterms:W3CDTF">2024-02-23T10:49:50Z</dcterms:created>
  <dcterms:modified xsi:type="dcterms:W3CDTF">2024-02-23T11:12:47Z</dcterms:modified>
</cp:coreProperties>
</file>